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presentation.xml" ContentType="application/vnd.openxmlformats-officedocument.presentationml.presentation.main+xml"/>
  <Override PartName="/ppt/slides/slide15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8.xml" ContentType="application/vnd.openxmlformats-officedocument.presentationml.slide+xml"/>
  <Override PartName="/ppt/slides/slide7.xml" ContentType="application/vnd.openxmlformats-officedocument.presentationml.slide+xml"/>
  <Override PartName="/ppt/slides/slide6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13.xml" ContentType="application/vnd.openxmlformats-officedocument.presentationml.slide+xml"/>
  <Override PartName="/ppt/slides/slide1.xml" ContentType="application/vnd.openxmlformats-officedocument.presentationml.slide+xml"/>
  <Override PartName="/ppt/slides/slide14.xml" ContentType="application/vnd.openxmlformats-officedocument.presentationml.slide+xml"/>
  <Override PartName="/ppt/slideLayouts/slideLayout26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Layouts/slideLayout20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Masters/slideMaster7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Layouts/slideLayout13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8.xml" ContentType="application/vnd.openxmlformats-officedocument.theme+xml"/>
  <Override PartName="/ppt/theme/theme2.xml" ContentType="application/vnd.openxmlformats-officedocument.theme+xml"/>
  <Override PartName="/ppt/theme/theme7.xml" ContentType="application/vnd.openxmlformats-officedocument.theme+xml"/>
  <Override PartName="/ppt/theme/theme9.xml" ContentType="application/vnd.openxmlformats-officedocument.theme+xml"/>
  <Override PartName="/ppt/notesMasters/notesMaster1.xml" ContentType="application/vnd.openxmlformats-officedocument.presentationml.notesMaster+xml"/>
  <Override PartName="/ppt/theme/theme6.xml" ContentType="application/vnd.openxmlformats-officedocument.theme+xml"/>
  <Override PartName="/ppt/handoutMasters/handoutMaster1.xml" ContentType="application/vnd.openxmlformats-officedocument.presentationml.handoutMaster+xml"/>
  <Override PartName="/ppt/theme/theme1.xml" ContentType="application/vnd.openxmlformats-officedocument.theme+xml"/>
  <Override PartName="/ppt/theme/theme3.xml" ContentType="application/vnd.openxmlformats-officedocument.theme+xml"/>
  <Override PartName="/ppt/theme/theme5.xml" ContentType="application/vnd.openxmlformats-officedocument.theme+xml"/>
  <Override PartName="/ppt/theme/theme4.xml" ContentType="application/vnd.openxmlformats-officedocument.theme+xml"/>
  <Override PartName="/ppt/presProps.xml" ContentType="application/vnd.openxmlformats-officedocument.presentationml.presProps+xml"/>
  <Override PartName="/ppt/tableStyles.xml" ContentType="application/vnd.openxmlformats-officedocument.presentationml.tableStyles+xml"/>
  <Override PartName="/ppt/viewProps.xml" ContentType="application/vnd.openxmlformats-officedocument.presentationml.viewProps+xml"/>
  <Override PartName="/ppt/tags/tag2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8.xml" ContentType="application/vnd.openxmlformats-officedocument.presentationml.tags+xml"/>
  <Override PartName="/ppt/tags/tag11.xml" ContentType="application/vnd.openxmlformats-officedocument.presentationml.tags+xml"/>
  <Override PartName="/ppt/tags/tag10.xml" ContentType="application/vnd.openxmlformats-officedocument.presentationml.tags+xml"/>
  <Override PartName="/ppt/tags/tag54.xml" ContentType="application/vnd.openxmlformats-officedocument.presentationml.tags+xml"/>
  <Override PartName="/ppt/tags/tag3.xml" ContentType="application/vnd.openxmlformats-officedocument.presentationml.tags+xml"/>
  <Override PartName="/ppt/tags/tag17.xml" ContentType="application/vnd.openxmlformats-officedocument.presentationml.tags+xml"/>
  <Override PartName="/ppt/tags/tag16.xml" ContentType="application/vnd.openxmlformats-officedocument.presentationml.tags+xml"/>
  <Override PartName="/ppt/tags/tag14.xml" ContentType="application/vnd.openxmlformats-officedocument.presentationml.tags+xml"/>
  <Override PartName="/ppt/tags/tag13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15.xml" ContentType="application/vnd.openxmlformats-officedocument.presentationml.tags+xml"/>
  <Override PartName="/ppt/tags/tag6.xml" ContentType="application/vnd.openxmlformats-officedocument.presentationml.tags+xml"/>
  <Override PartName="/ppt/tags/tag45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1.xml" ContentType="application/vnd.openxmlformats-officedocument.presentationml.tags+xml"/>
  <Override PartName="/ppt/tags/tag12.xml" ContentType="application/vnd.openxmlformats-officedocument.presentationml.tags+xml"/>
  <Override PartName="/ppt/tags/tag53.xml" ContentType="application/vnd.openxmlformats-officedocument.presentationml.tags+xml"/>
  <Override PartName="/ppt/tags/tag20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42.xml" ContentType="application/vnd.openxmlformats-officedocument.presentationml.tags+xml"/>
  <Override PartName="/ppt/tags/tag41.xml" ContentType="application/vnd.openxmlformats-officedocument.presentationml.tags+xml"/>
  <Override PartName="/ppt/tags/tag40.xml" ContentType="application/vnd.openxmlformats-officedocument.presentationml.tags+xml"/>
  <Override PartName="/ppt/tags/tag39.xml" ContentType="application/vnd.openxmlformats-officedocument.presentationml.tags+xml"/>
  <Override PartName="/ppt/tags/tag38.xml" ContentType="application/vnd.openxmlformats-officedocument.presentationml.tags+xml"/>
  <Override PartName="/ppt/tags/tag37.xml" ContentType="application/vnd.openxmlformats-officedocument.presentationml.tags+xml"/>
  <Override PartName="/ppt/tags/tag66.xml" ContentType="application/vnd.openxmlformats-officedocument.presentationml.tags+xml"/>
  <Override PartName="/ppt/tags/tag65.xml" ContentType="application/vnd.openxmlformats-officedocument.presentationml.tags+xml"/>
  <Override PartName="/ppt/tags/tag6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36.xml" ContentType="application/vnd.openxmlformats-officedocument.presentationml.tags+xml"/>
  <Override PartName="/ppt/tags/tag35.xml" ContentType="application/vnd.openxmlformats-officedocument.presentationml.tags+xml"/>
  <Override PartName="/ppt/tags/tag67.xml" ContentType="application/vnd.openxmlformats-officedocument.presentationml.tags+xml"/>
  <Override PartName="/ppt/tags/tag26.xml" ContentType="application/vnd.openxmlformats-officedocument.presentationml.tags+xml"/>
  <Override PartName="/ppt/tags/tag25.xml" ContentType="application/vnd.openxmlformats-officedocument.presentationml.tags+xml"/>
  <Override PartName="/ppt/tags/tag24.xml" ContentType="application/vnd.openxmlformats-officedocument.presentationml.tags+xml"/>
  <Override PartName="/ppt/tags/tag50.xml" ContentType="application/vnd.openxmlformats-officedocument.presentationml.tags+xml"/>
  <Override PartName="/ppt/tags/tag49.xml" ContentType="application/vnd.openxmlformats-officedocument.presentationml.tags+xml"/>
  <Override PartName="/ppt/tags/tag48.xml" ContentType="application/vnd.openxmlformats-officedocument.presentationml.tags+xml"/>
  <Override PartName="/ppt/tags/tag23.xml" ContentType="application/vnd.openxmlformats-officedocument.presentationml.tags+xml"/>
  <Override PartName="/ppt/tags/tag22.xml" ContentType="application/vnd.openxmlformats-officedocument.presentationml.tags+xml"/>
  <Override PartName="/ppt/tags/tag21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68.xml" ContentType="application/vnd.openxmlformats-officedocument.presentationml.tags+xml"/>
  <Override PartName="/ppt/tags/tag34.xml" ContentType="application/vnd.openxmlformats-officedocument.presentationml.tags+xml"/>
  <Override PartName="/ppt/tags/tag33.xml" ContentType="application/vnd.openxmlformats-officedocument.presentationml.tags+xml"/>
  <Override PartName="/ppt/tags/tag3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tags/tag31.xml" ContentType="application/vnd.openxmlformats-officedocument.presentationml.tags+xml"/>
  <Override PartName="/ppt/tags/tag30.xml" ContentType="application/vnd.openxmlformats-officedocument.presentationml.tags+xml"/>
  <Override PartName="/ppt/tags/tag19.xml" ContentType="application/vnd.openxmlformats-officedocument.presentationml.tags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4" r:id="rId2"/>
    <p:sldMasterId id="2147483668" r:id="rId3"/>
    <p:sldMasterId id="2147483710" r:id="rId4"/>
    <p:sldMasterId id="2147483701" r:id="rId5"/>
    <p:sldMasterId id="2147483705" r:id="rId6"/>
    <p:sldMasterId id="2147483722" r:id="rId7"/>
  </p:sldMasterIdLst>
  <p:notesMasterIdLst>
    <p:notesMasterId r:id="rId25"/>
  </p:notesMasterIdLst>
  <p:handoutMasterIdLst>
    <p:handoutMasterId r:id="rId26"/>
  </p:handoutMasterIdLst>
  <p:sldIdLst>
    <p:sldId id="342" r:id="rId8"/>
    <p:sldId id="341" r:id="rId9"/>
    <p:sldId id="404" r:id="rId10"/>
    <p:sldId id="379" r:id="rId11"/>
    <p:sldId id="380" r:id="rId12"/>
    <p:sldId id="381" r:id="rId13"/>
    <p:sldId id="383" r:id="rId14"/>
    <p:sldId id="384" r:id="rId15"/>
    <p:sldId id="385" r:id="rId16"/>
    <p:sldId id="386" r:id="rId17"/>
    <p:sldId id="397" r:id="rId18"/>
    <p:sldId id="399" r:id="rId19"/>
    <p:sldId id="400" r:id="rId20"/>
    <p:sldId id="401" r:id="rId21"/>
    <p:sldId id="402" r:id="rId22"/>
    <p:sldId id="403" r:id="rId23"/>
    <p:sldId id="281" r:id="rId2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574" autoAdjust="0"/>
    <p:restoredTop sz="94660"/>
  </p:normalViewPr>
  <p:slideViewPr>
    <p:cSldViewPr snapToGrid="0">
      <p:cViewPr varScale="1">
        <p:scale>
          <a:sx n="74" d="100"/>
          <a:sy n="74" d="100"/>
        </p:scale>
        <p:origin x="678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7" d="100"/>
          <a:sy n="67" d="100"/>
        </p:scale>
        <p:origin x="3312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handoutMaster" Target="handoutMasters/handout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4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notesMaster" Target="notesMasters/notesMaster1.xml"/><Relationship Id="rId33" Type="http://schemas.openxmlformats.org/officeDocument/2006/relationships/customXml" Target="../customXml/item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customXml" Target="../customXml/item2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viewProps" Target="viewProp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customXml" Target="../customXml/item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Relationship Id="rId8" Type="http://schemas.openxmlformats.org/officeDocument/2006/relationships/slide" Target="slides/slid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0CC53D5-EC8D-4AF2-9CF0-CAB779DE4816}" type="datetimeFigureOut">
              <a:rPr lang="en-US" smtClean="0"/>
              <a:t>26-Apr-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97844BA-B392-4DA1-8F44-B91F0B8F768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916008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A44B3DC-877B-4E1B-865B-1795B91897E7}" type="datetimeFigureOut">
              <a:rPr lang="en-IN" smtClean="0"/>
              <a:t>26-04-2018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F874172-4BFB-4DF3-AA03-704E32E1A4A7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2009631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jp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64.xml"/><Relationship Id="rId2" Type="http://schemas.openxmlformats.org/officeDocument/2006/relationships/tags" Target="../tags/tag63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65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6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1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68.xml"/><Relationship Id="rId2" Type="http://schemas.openxmlformats.org/officeDocument/2006/relationships/tags" Target="../tags/tag67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3.jp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4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2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.bin"/><Relationship Id="rId4" Type="http://schemas.openxmlformats.org/officeDocument/2006/relationships/image" Target="../media/image3.jp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3"/>
            <a:ext cx="12192000" cy="6857596"/>
          </a:xfrm>
          <a:prstGeom prst="rect">
            <a:avLst/>
          </a:prstGeom>
        </p:spPr>
      </p:pic>
      <p:sp>
        <p:nvSpPr>
          <p:cNvPr id="2" name="TitleRectangle"/>
          <p:cNvSpPr>
            <a:spLocks/>
          </p:cNvSpPr>
          <p:nvPr userDrawn="1"/>
        </p:nvSpPr>
        <p:spPr bwMode="white">
          <a:xfrm>
            <a:off x="2837962" y="2"/>
            <a:ext cx="9356199" cy="4048475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32" dirty="0">
              <a:solidFill>
                <a:srgbClr val="000000"/>
              </a:solidFill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62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2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8153069" y="6415251"/>
            <a:ext cx="379578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16" b="1" dirty="0">
                <a:solidFill>
                  <a:srgbClr val="FFFFFF"/>
                </a:solidFill>
                <a:latin typeface="Arial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8153070" y="6540861"/>
            <a:ext cx="4038929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16" smtClean="0">
                <a:solidFill>
                  <a:srgbClr val="FFFFFF"/>
                </a:solidFill>
                <a:latin typeface="Arial"/>
              </a:rPr>
              <a:t>Last Modified 08/09/2017 21:36 India Standard Time</a:t>
            </a:r>
            <a:endParaRPr lang="en-US" sz="816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8153069" y="6666473"/>
            <a:ext cx="379578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16" smtClean="0">
                <a:solidFill>
                  <a:srgbClr val="FFFFFF"/>
                </a:solidFill>
                <a:latin typeface="Arial"/>
              </a:rPr>
              <a:t>Printed 17/08/2017 19:26 India Standard Time</a:t>
            </a:r>
            <a:endParaRPr lang="en-US" sz="816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3085968" y="1463556"/>
            <a:ext cx="8478152" cy="502445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265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3085968" y="3182433"/>
            <a:ext cx="8478152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28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85968" y="3650596"/>
            <a:ext cx="8478152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28" dirty="0">
                <a:solidFill>
                  <a:srgbClr val="808080"/>
                </a:solidFill>
                <a:latin typeface="Arial"/>
              </a:rPr>
              <a:t>Document type 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white">
          <a:xfrm>
            <a:off x="11487911" y="37255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sz="816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8" name="LogoImage"/>
          <p:cNvSpPr>
            <a:spLocks noEditPoints="1"/>
          </p:cNvSpPr>
          <p:nvPr userDrawn="1"/>
        </p:nvSpPr>
        <p:spPr bwMode="auto">
          <a:xfrm>
            <a:off x="3085968" y="153714"/>
            <a:ext cx="2961769" cy="242909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32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3085968" y="6540989"/>
            <a:ext cx="4822213" cy="2510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2120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816" dirty="0">
                <a:solidFill>
                  <a:srgbClr val="FFFFFF"/>
                </a:solidFill>
              </a:rPr>
              <a:t>CONFIDENTIAL AND PROPRIETARY</a:t>
            </a:r>
          </a:p>
          <a:p>
            <a:pPr defTabSz="82120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816" dirty="0">
                <a:solidFill>
                  <a:srgbClr val="FFFFFF"/>
                </a:solidFill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651255560"/>
      </p:ext>
    </p:extLst>
  </p:cSld>
  <p:clrMapOvr>
    <a:masterClrMapping/>
  </p:clrMapOvr>
  <p:transition spd="med" advTm="5000">
    <p:random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62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81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2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11652054" y="6640500"/>
            <a:ext cx="128240" cy="12554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816" smtClean="0">
                <a:solidFill>
                  <a:srgbClr val="80808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16" dirty="0">
              <a:solidFill>
                <a:srgbClr val="808080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10485994" y="6640500"/>
            <a:ext cx="1029128" cy="125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26" fontAlgn="base">
              <a:spcBef>
                <a:spcPct val="0"/>
              </a:spcBef>
              <a:spcAft>
                <a:spcPct val="0"/>
              </a:spcAft>
            </a:pPr>
            <a:r>
              <a:rPr lang="en-US" sz="816" dirty="0">
                <a:solidFill>
                  <a:srgbClr val="808080"/>
                </a:solidFill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995479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 fontAlgn="base">
              <a:spcBef>
                <a:spcPct val="0"/>
              </a:spcBef>
              <a:spcAft>
                <a:spcPct val="0"/>
              </a:spcAft>
            </a:pPr>
            <a:endParaRPr lang="en-US" sz="816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223190"/>
      </p:ext>
    </p:extLst>
  </p:cSld>
  <p:clrMapOvr>
    <a:masterClrMapping/>
  </p:clrMapOvr>
  <p:transition spd="med" advTm="5000">
    <p:random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11652054" y="6640500"/>
            <a:ext cx="128240" cy="12554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816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16" dirty="0">
              <a:solidFill>
                <a:srgbClr val="FFFFFF"/>
              </a:solidFill>
            </a:endParaRPr>
          </a:p>
        </p:txBody>
      </p:sp>
      <p:sp>
        <p:nvSpPr>
          <p:cNvPr id="1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0485994" y="6640500"/>
            <a:ext cx="1029128" cy="125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26" fontAlgn="base">
              <a:spcBef>
                <a:spcPct val="0"/>
              </a:spcBef>
              <a:spcAft>
                <a:spcPct val="0"/>
              </a:spcAft>
            </a:pPr>
            <a:r>
              <a:rPr lang="en-US" sz="816" dirty="0">
                <a:solidFill>
                  <a:srgbClr val="FFFFFF"/>
                </a:solidFill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995479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 fontAlgn="base">
              <a:spcBef>
                <a:spcPct val="0"/>
              </a:spcBef>
              <a:spcAft>
                <a:spcPct val="0"/>
              </a:spcAft>
            </a:pPr>
            <a:endParaRPr lang="en-US" sz="816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3103716"/>
      </p:ext>
    </p:extLst>
  </p:cSld>
  <p:clrMapOvr>
    <a:masterClrMapping/>
  </p:clrMapOvr>
  <p:transition spd="med" advTm="5000">
    <p:random/>
  </p:transition>
  <p:extLst mod="1">
    <p:ext uri="{DCECCB84-F9BA-43D5-87BE-67443E8EF086}">
      <p15:sldGuideLst xmlns:p15="http://schemas.microsoft.com/office/powerpoint/2012/main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55628352"/>
      </p:ext>
    </p:extLst>
  </p:cSld>
  <p:clrMapOvr>
    <a:masterClrMapping/>
  </p:clrMapOvr>
  <p:transition spd="med" advTm="5000">
    <p:random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62" y="1620"/>
          <a:ext cx="2157" cy="161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05"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2" y="1620"/>
                        <a:ext cx="2157" cy="161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40" b="0" i="0">
                <a:solidFill>
                  <a:srgbClr val="00295F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1976208" y="1991016"/>
            <a:ext cx="5853024" cy="219820"/>
          </a:xfrm>
        </p:spPr>
        <p:txBody>
          <a:bodyPr lIns="0" tIns="0" rIns="0" bIns="0"/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144786" y="6634057"/>
            <a:ext cx="1143215" cy="142470"/>
          </a:xfrm>
          <a:prstGeom prst="rect">
            <a:avLst/>
          </a:prstGeom>
        </p:spPr>
        <p:txBody>
          <a:bodyPr lIns="0" tIns="0" rIns="0" bIns="0"/>
          <a:lstStyle>
            <a:lvl1pPr>
              <a:defRPr sz="816" b="0" i="0">
                <a:solidFill>
                  <a:srgbClr val="808080"/>
                </a:solidFill>
                <a:latin typeface="Arial"/>
                <a:cs typeface="Arial"/>
              </a:defRPr>
            </a:lvl1pPr>
          </a:lstStyle>
          <a:p>
            <a:pPr marL="12952" fontAlgn="base">
              <a:spcBef>
                <a:spcPts val="26"/>
              </a:spcBef>
              <a:spcAft>
                <a:spcPct val="0"/>
              </a:spcAft>
            </a:pPr>
            <a:endParaRPr lang="en-GB" spc="-5"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9601" y="6377941"/>
            <a:ext cx="2804160" cy="34289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1D8BD707-D9CF-40AE-B4C6-C98DA3205C09}" type="datetimeFigureOut">
              <a:rPr lang="en-US" sz="1632">
                <a:solidFill>
                  <a:srgbClr val="000000">
                    <a:tint val="75000"/>
                  </a:srgb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26-Apr-18</a:t>
            </a:fld>
            <a:endParaRPr lang="en-US" sz="1632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10130413" y="6633436"/>
            <a:ext cx="1630204" cy="142470"/>
          </a:xfrm>
          <a:prstGeom prst="rect">
            <a:avLst/>
          </a:prstGeom>
        </p:spPr>
        <p:txBody>
          <a:bodyPr lIns="0" tIns="0" rIns="0" bIns="0"/>
          <a:lstStyle>
            <a:lvl1pPr>
              <a:defRPr sz="816" b="0" i="0">
                <a:solidFill>
                  <a:srgbClr val="808080"/>
                </a:solidFill>
                <a:latin typeface="Arial"/>
                <a:cs typeface="Arial"/>
              </a:defRPr>
            </a:lvl1pPr>
          </a:lstStyle>
          <a:p>
            <a:pPr marL="12952" fontAlgn="base">
              <a:spcBef>
                <a:spcPts val="26"/>
              </a:spcBef>
              <a:spcAft>
                <a:spcPct val="0"/>
              </a:spcAft>
            </a:pPr>
            <a:r>
              <a:rPr lang="en-GB" smtClean="0"/>
              <a:t>McKinsey &amp; </a:t>
            </a:r>
            <a:r>
              <a:rPr lang="en-GB" spc="-5" smtClean="0"/>
              <a:t>Company  </a:t>
            </a:r>
            <a:r>
              <a:rPr lang="en-GB" spc="61" smtClean="0"/>
              <a:t> </a:t>
            </a:r>
            <a:fld id="{81D60167-4931-47E6-BA6A-407CBD079E47}" type="slidenum">
              <a:rPr smtClean="0"/>
              <a:pPr marL="12952" fontAlgn="base">
                <a:spcBef>
                  <a:spcPts val="26"/>
                </a:spcBef>
                <a:spcAft>
                  <a:spcPct val="0"/>
                </a:spcAft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699477338"/>
      </p:ext>
    </p:extLst>
  </p:cSld>
  <p:clrMapOvr>
    <a:masterClrMapping/>
  </p:clrMapOvr>
  <p:transition spd="med" advTm="5000">
    <p:random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F23E1D-1325-4E6C-96CC-B6F3F693F54A}" type="datetimeFigureOut">
              <a:rPr lang="en-US" smtClean="0"/>
              <a:t>26-Apr-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27C45C-A44B-4609-80DF-2868C77EF0F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116180"/>
      </p:ext>
    </p:extLst>
  </p:cSld>
  <p:clrMapOvr>
    <a:masterClrMapping/>
  </p:clrMapOvr>
  <p:transition spd="med" advTm="5000">
    <p:random/>
  </p:transition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F23E1D-1325-4E6C-96CC-B6F3F693F54A}" type="datetimeFigureOut">
              <a:rPr lang="en-US" smtClean="0"/>
              <a:t>26-Apr-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27C45C-A44B-4609-80DF-2868C77EF0F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2834865"/>
      </p:ext>
    </p:extLst>
  </p:cSld>
  <p:clrMapOvr>
    <a:masterClrMapping/>
  </p:clrMapOvr>
  <p:transition spd="med" advTm="5000">
    <p:random/>
  </p:transition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F23E1D-1325-4E6C-96CC-B6F3F693F54A}" type="datetimeFigureOut">
              <a:rPr lang="en-US" smtClean="0"/>
              <a:t>26-Apr-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27C45C-A44B-4609-80DF-2868C77EF0F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6362935"/>
      </p:ext>
    </p:extLst>
  </p:cSld>
  <p:clrMapOvr>
    <a:masterClrMapping/>
  </p:clrMapOvr>
  <p:transition spd="med" advTm="5000">
    <p:random/>
  </p:transition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F23E1D-1325-4E6C-96CC-B6F3F693F54A}" type="datetimeFigureOut">
              <a:rPr lang="en-US" smtClean="0"/>
              <a:t>26-Apr-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27C45C-A44B-4609-80DF-2868C77EF0F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6581333"/>
      </p:ext>
    </p:extLst>
  </p:cSld>
  <p:clrMapOvr>
    <a:masterClrMapping/>
  </p:clrMapOvr>
  <p:transition spd="med" advTm="5000">
    <p:random/>
  </p:transition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F23E1D-1325-4E6C-96CC-B6F3F693F54A}" type="datetimeFigureOut">
              <a:rPr lang="en-US" smtClean="0"/>
              <a:t>26-Apr-18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27C45C-A44B-4609-80DF-2868C77EF0F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2061895"/>
      </p:ext>
    </p:extLst>
  </p:cSld>
  <p:clrMapOvr>
    <a:masterClrMapping/>
  </p:clrMapOvr>
  <p:transition spd="med" advTm="5000">
    <p:random/>
  </p:transition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F23E1D-1325-4E6C-96CC-B6F3F693F54A}" type="datetimeFigureOut">
              <a:rPr lang="en-US" smtClean="0"/>
              <a:t>26-Apr-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27C45C-A44B-4609-80DF-2868C77EF0F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8270579"/>
      </p:ext>
    </p:extLst>
  </p:cSld>
  <p:clrMapOvr>
    <a:masterClrMapping/>
  </p:clrMapOvr>
  <p:transition spd="med" advTm="5000">
    <p:random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62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37" name="think-cell Slide" r:id="rId5" imgW="338" imgH="338" progId="TCLayout.ActiveDocument.1">
                  <p:embed/>
                </p:oleObj>
              </mc:Choice>
              <mc:Fallback>
                <p:oleObj name="think-cell Slide" r:id="rId5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2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11652054" y="6640500"/>
            <a:ext cx="128240" cy="12554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816" smtClean="0">
                <a:solidFill>
                  <a:srgbClr val="80808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16" dirty="0">
              <a:solidFill>
                <a:srgbClr val="808080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10485994" y="6640500"/>
            <a:ext cx="1029128" cy="125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26" fontAlgn="base">
              <a:spcBef>
                <a:spcPct val="0"/>
              </a:spcBef>
              <a:spcAft>
                <a:spcPct val="0"/>
              </a:spcAft>
            </a:pPr>
            <a:r>
              <a:rPr lang="en-US" sz="816" dirty="0">
                <a:solidFill>
                  <a:srgbClr val="808080"/>
                </a:solidFill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995479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 fontAlgn="base">
              <a:spcBef>
                <a:spcPct val="0"/>
              </a:spcBef>
              <a:spcAft>
                <a:spcPct val="0"/>
              </a:spcAft>
            </a:pPr>
            <a:endParaRPr lang="en-US" sz="816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9517183"/>
      </p:ext>
    </p:extLst>
  </p:cSld>
  <p:clrMapOvr>
    <a:masterClrMapping/>
  </p:clrMapOvr>
  <p:transition spd="med" advTm="5000">
    <p:random/>
  </p:transition>
  <p:extLst mod="1">
    <p:ext uri="{DCECCB84-F9BA-43D5-87BE-67443E8EF086}">
      <p15:sldGuideLst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F23E1D-1325-4E6C-96CC-B6F3F693F54A}" type="datetimeFigureOut">
              <a:rPr lang="en-US" smtClean="0"/>
              <a:t>26-Apr-18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27C45C-A44B-4609-80DF-2868C77EF0F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8164180"/>
      </p:ext>
    </p:extLst>
  </p:cSld>
  <p:clrMapOvr>
    <a:masterClrMapping/>
  </p:clrMapOvr>
  <p:transition spd="med" advTm="5000">
    <p:random/>
  </p:transition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F23E1D-1325-4E6C-96CC-B6F3F693F54A}" type="datetimeFigureOut">
              <a:rPr lang="en-US" smtClean="0"/>
              <a:t>26-Apr-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27C45C-A44B-4609-80DF-2868C77EF0F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8565975"/>
      </p:ext>
    </p:extLst>
  </p:cSld>
  <p:clrMapOvr>
    <a:masterClrMapping/>
  </p:clrMapOvr>
  <p:transition spd="med" advTm="5000">
    <p:random/>
  </p:transition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F23E1D-1325-4E6C-96CC-B6F3F693F54A}" type="datetimeFigureOut">
              <a:rPr lang="en-US" smtClean="0"/>
              <a:t>26-Apr-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27C45C-A44B-4609-80DF-2868C77EF0F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9294881"/>
      </p:ext>
    </p:extLst>
  </p:cSld>
  <p:clrMapOvr>
    <a:masterClrMapping/>
  </p:clrMapOvr>
  <p:transition spd="med" advTm="5000">
    <p:random/>
  </p:transition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F23E1D-1325-4E6C-96CC-B6F3F693F54A}" type="datetimeFigureOut">
              <a:rPr lang="en-US" smtClean="0"/>
              <a:t>26-Apr-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27C45C-A44B-4609-80DF-2868C77EF0F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1240704"/>
      </p:ext>
    </p:extLst>
  </p:cSld>
  <p:clrMapOvr>
    <a:masterClrMapping/>
  </p:clrMapOvr>
  <p:transition spd="med" advTm="5000">
    <p:random/>
  </p:transition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F23E1D-1325-4E6C-96CC-B6F3F693F54A}" type="datetimeFigureOut">
              <a:rPr lang="en-US" smtClean="0"/>
              <a:t>26-Apr-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27C45C-A44B-4609-80DF-2868C77EF0F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7845672"/>
      </p:ext>
    </p:extLst>
  </p:cSld>
  <p:clrMapOvr>
    <a:masterClrMapping/>
  </p:clrMapOvr>
  <p:transition spd="med" advTm="5000">
    <p:random/>
  </p:transition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58284" y="1387475"/>
            <a:ext cx="10606616" cy="4191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"/>
            <a:ext cx="12192000" cy="542925"/>
          </a:xfrm>
          <a:prstGeom prst="rect">
            <a:avLst/>
          </a:prstGeom>
        </p:spPr>
      </p:pic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209258" y="6549703"/>
            <a:ext cx="1986673" cy="365125"/>
          </a:xfrm>
          <a:prstGeom prst="rect">
            <a:avLst/>
          </a:prstGeom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endParaRPr lang="en-IN" dirty="0">
              <a:solidFill>
                <a:prstClr val="black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0" y="-18553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>
          <a:xfrm>
            <a:off x="9209689" y="6472260"/>
            <a:ext cx="2743200" cy="365125"/>
          </a:xfrm>
          <a:prstGeom prst="rect">
            <a:avLst/>
          </a:prstGeom>
        </p:spPr>
        <p:txBody>
          <a:bodyPr/>
          <a:lstStyle/>
          <a:p>
            <a:fld id="{D19C1E86-EECE-4CA4-AD45-76471B9C5303}" type="slidenum">
              <a:rPr lang="en-IN" smtClean="0">
                <a:solidFill>
                  <a:prstClr val="black"/>
                </a:solidFill>
              </a:rPr>
              <a:pPr/>
              <a:t>‹#›</a:t>
            </a:fld>
            <a:endParaRPr lang="en-IN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904069"/>
      </p:ext>
    </p:extLst>
  </p:cSld>
  <p:clrMapOvr>
    <a:masterClrMapping/>
  </p:clrMapOvr>
  <p:transition spd="med" advTm="5000">
    <p:random/>
  </p:transition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209689" y="6472260"/>
            <a:ext cx="2743200" cy="365125"/>
          </a:xfrm>
          <a:prstGeom prst="rect">
            <a:avLst/>
          </a:prstGeom>
        </p:spPr>
        <p:txBody>
          <a:bodyPr/>
          <a:lstStyle/>
          <a:p>
            <a:fld id="{B6D896E3-D5F8-4F8C-B1BB-69A1F3410C69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Footer Placeholder 4"/>
          <p:cNvSpPr txBox="1">
            <a:spLocks/>
          </p:cNvSpPr>
          <p:nvPr userDrawn="1"/>
        </p:nvSpPr>
        <p:spPr>
          <a:xfrm>
            <a:off x="5222800" y="6549703"/>
            <a:ext cx="1986673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IN" dirty="0" smtClean="0">
                <a:solidFill>
                  <a:prstClr val="black"/>
                </a:solidFill>
              </a:rPr>
              <a:t>Private &amp; Confidential</a:t>
            </a:r>
            <a:endParaRPr lang="en-IN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3180358"/>
      </p:ext>
    </p:extLst>
  </p:cSld>
  <p:clrMapOvr>
    <a:masterClrMapping/>
  </p:clrMapOvr>
  <p:transition spd="med" advTm="5000">
    <p:random/>
  </p:transition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62768095"/>
      </p:ext>
    </p:extLst>
  </p:cSld>
  <p:clrMapOvr>
    <a:masterClrMapping/>
  </p:clrMapOvr>
  <p:transition spd="med" advTm="5000">
    <p:random/>
  </p:transition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4A671099-973E-4141-88A0-BD2028D4DB90}" type="datetimeFigureOut">
              <a:rPr lang="en-IN" smtClean="0">
                <a:solidFill>
                  <a:prstClr val="black"/>
                </a:solidFill>
              </a:rPr>
              <a:pPr/>
              <a:t>26-04-2018</a:t>
            </a:fld>
            <a:endParaRPr lang="en-IN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N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49F56AC5-B135-4845-A505-E37BBCD08212}" type="slidenum">
              <a:rPr lang="en-IN" smtClean="0">
                <a:solidFill>
                  <a:prstClr val="black"/>
                </a:solidFill>
              </a:rPr>
              <a:pPr/>
              <a:t>‹#›</a:t>
            </a:fld>
            <a:endParaRPr lang="en-IN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6917615"/>
      </p:ext>
    </p:extLst>
  </p:cSld>
  <p:clrMapOvr>
    <a:masterClrMapping/>
  </p:clrMapOvr>
  <p:transition spd="med" advTm="5000">
    <p:random/>
  </p:transition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62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91" name="think-cell Slide" r:id="rId5" imgW="338" imgH="338" progId="TCLayout.ActiveDocument.1">
                  <p:embed/>
                </p:oleObj>
              </mc:Choice>
              <mc:Fallback>
                <p:oleObj name="think-cell Slide" r:id="rId5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2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1219200" y="0"/>
            <a:ext cx="10972800" cy="9144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11652054" y="6640500"/>
            <a:ext cx="128240" cy="12554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816" smtClean="0">
                <a:solidFill>
                  <a:srgbClr val="80808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16" dirty="0">
              <a:solidFill>
                <a:srgbClr val="808080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10485994" y="6640500"/>
            <a:ext cx="1029128" cy="125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26" fontAlgn="base">
              <a:spcBef>
                <a:spcPct val="0"/>
              </a:spcBef>
              <a:spcAft>
                <a:spcPct val="0"/>
              </a:spcAft>
            </a:pPr>
            <a:r>
              <a:rPr lang="en-US" sz="816" dirty="0">
                <a:solidFill>
                  <a:srgbClr val="808080"/>
                </a:solidFill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995479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 fontAlgn="base">
              <a:spcBef>
                <a:spcPct val="0"/>
              </a:spcBef>
              <a:spcAft>
                <a:spcPct val="0"/>
              </a:spcAft>
            </a:pPr>
            <a:endParaRPr lang="en-US" sz="816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1819388"/>
      </p:ext>
    </p:extLst>
  </p:cSld>
  <p:clrMapOvr>
    <a:masterClrMapping/>
  </p:clrMapOvr>
  <p:transition spd="med" advTm="5000">
    <p:random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11652054" y="6640500"/>
            <a:ext cx="128240" cy="12554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816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16" dirty="0">
              <a:solidFill>
                <a:srgbClr val="FFFFFF"/>
              </a:solidFill>
            </a:endParaRPr>
          </a:p>
        </p:txBody>
      </p:sp>
      <p:sp>
        <p:nvSpPr>
          <p:cNvPr id="1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0485994" y="6640500"/>
            <a:ext cx="1029128" cy="125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26" fontAlgn="base">
              <a:spcBef>
                <a:spcPct val="0"/>
              </a:spcBef>
              <a:spcAft>
                <a:spcPct val="0"/>
              </a:spcAft>
            </a:pPr>
            <a:r>
              <a:rPr lang="en-US" sz="816" dirty="0">
                <a:solidFill>
                  <a:srgbClr val="FFFFFF"/>
                </a:solidFill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995479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 fontAlgn="base">
              <a:spcBef>
                <a:spcPct val="0"/>
              </a:spcBef>
              <a:spcAft>
                <a:spcPct val="0"/>
              </a:spcAft>
            </a:pPr>
            <a:endParaRPr lang="en-US" sz="816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0290005"/>
      </p:ext>
    </p:extLst>
  </p:cSld>
  <p:clrMapOvr>
    <a:masterClrMapping/>
  </p:clrMapOvr>
  <p:transition spd="med" advTm="5000">
    <p:random/>
  </p:transition>
  <p:extLst mod="1">
    <p:ext uri="{DCECCB84-F9BA-43D5-87BE-67443E8EF086}">
      <p15:sldGuideLst xmlns:p15="http://schemas.microsoft.com/office/powerpoint/2012/main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9200" y="0"/>
            <a:ext cx="10972800" cy="9144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4021154"/>
      </p:ext>
    </p:extLst>
  </p:cSld>
  <p:clrMapOvr>
    <a:masterClrMapping/>
  </p:clrMapOvr>
  <p:transition spd="med" advTm="5000">
    <p:random/>
  </p:transition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58284" y="1387475"/>
            <a:ext cx="10606616" cy="4191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"/>
            <a:ext cx="12192000" cy="542925"/>
          </a:xfrm>
          <a:prstGeom prst="rect">
            <a:avLst/>
          </a:prstGeom>
        </p:spPr>
      </p:pic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209258" y="6549703"/>
            <a:ext cx="1986673" cy="365125"/>
          </a:xfrm>
          <a:prstGeom prst="rect">
            <a:avLst/>
          </a:prstGeom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endParaRPr lang="en-IN" dirty="0">
              <a:solidFill>
                <a:prstClr val="black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0" y="-18553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>
          <a:xfrm>
            <a:off x="9209689" y="6472260"/>
            <a:ext cx="2743200" cy="365125"/>
          </a:xfrm>
          <a:prstGeom prst="rect">
            <a:avLst/>
          </a:prstGeom>
        </p:spPr>
        <p:txBody>
          <a:bodyPr/>
          <a:lstStyle/>
          <a:p>
            <a:fld id="{D19C1E86-EECE-4CA4-AD45-76471B9C5303}" type="slidenum">
              <a:rPr lang="en-IN" smtClean="0">
                <a:solidFill>
                  <a:prstClr val="black"/>
                </a:solidFill>
              </a:rPr>
              <a:pPr/>
              <a:t>‹#›</a:t>
            </a:fld>
            <a:endParaRPr lang="en-IN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1707691"/>
      </p:ext>
    </p:extLst>
  </p:cSld>
  <p:clrMapOvr>
    <a:masterClrMapping/>
  </p:clrMapOvr>
  <p:transition spd="med" advTm="5000">
    <p:random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58284" y="1387475"/>
            <a:ext cx="10606616" cy="4191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"/>
            <a:ext cx="12192000" cy="542925"/>
          </a:xfrm>
          <a:prstGeom prst="rect">
            <a:avLst/>
          </a:prstGeom>
        </p:spPr>
      </p:pic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209258" y="6549703"/>
            <a:ext cx="1986673" cy="365125"/>
          </a:xfrm>
          <a:prstGeom prst="rect">
            <a:avLst/>
          </a:prstGeom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endParaRPr lang="en-IN" dirty="0">
              <a:solidFill>
                <a:prstClr val="black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0" y="-18553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>
          <a:xfrm>
            <a:off x="9209689" y="6472260"/>
            <a:ext cx="2743200" cy="365125"/>
          </a:xfrm>
          <a:prstGeom prst="rect">
            <a:avLst/>
          </a:prstGeom>
        </p:spPr>
        <p:txBody>
          <a:bodyPr/>
          <a:lstStyle/>
          <a:p>
            <a:fld id="{D19C1E86-EECE-4CA4-AD45-76471B9C5303}" type="slidenum">
              <a:rPr lang="en-IN" smtClean="0">
                <a:solidFill>
                  <a:prstClr val="black"/>
                </a:solidFill>
              </a:rPr>
              <a:pPr/>
              <a:t>‹#›</a:t>
            </a:fld>
            <a:endParaRPr lang="en-IN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6446547"/>
      </p:ext>
    </p:extLst>
  </p:cSld>
  <p:clrMapOvr>
    <a:masterClrMapping/>
  </p:clrMapOvr>
  <p:transition spd="med" advTm="5000">
    <p:random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209689" y="6472260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fld id="{D19C1E86-EECE-4CA4-AD45-76471B9C5303}" type="slidenum">
              <a:rPr lang="en-IN" smtClean="0">
                <a:solidFill>
                  <a:prstClr val="black"/>
                </a:solidFill>
              </a:rPr>
              <a:pPr/>
              <a:t>‹#›</a:t>
            </a:fld>
            <a:endParaRPr lang="en-IN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8153028"/>
      </p:ext>
    </p:extLst>
  </p:cSld>
  <p:clrMapOvr>
    <a:masterClrMapping/>
  </p:clrMapOvr>
  <p:transition spd="med" advTm="5000">
    <p:random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57254018"/>
      </p:ext>
    </p:extLst>
  </p:cSld>
  <p:clrMapOvr>
    <a:masterClrMapping/>
  </p:clrMapOvr>
  <p:transition spd="med" advTm="5000">
    <p:random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62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02" name="think-cell Slide" r:id="rId5" imgW="338" imgH="338" progId="TCLayout.ActiveDocument.1">
                  <p:embed/>
                </p:oleObj>
              </mc:Choice>
              <mc:Fallback>
                <p:oleObj name="think-cell Slide" r:id="rId5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2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11652054" y="6640500"/>
            <a:ext cx="128240" cy="12554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816" smtClean="0">
                <a:solidFill>
                  <a:srgbClr val="80808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16" dirty="0">
              <a:solidFill>
                <a:srgbClr val="808080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10485994" y="6640500"/>
            <a:ext cx="1029128" cy="125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26" fontAlgn="base">
              <a:spcBef>
                <a:spcPct val="0"/>
              </a:spcBef>
              <a:spcAft>
                <a:spcPct val="0"/>
              </a:spcAft>
            </a:pPr>
            <a:r>
              <a:rPr lang="en-US" sz="816" dirty="0">
                <a:solidFill>
                  <a:srgbClr val="808080"/>
                </a:solidFill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995479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 fontAlgn="base">
              <a:spcBef>
                <a:spcPct val="0"/>
              </a:spcBef>
              <a:spcAft>
                <a:spcPct val="0"/>
              </a:spcAft>
            </a:pPr>
            <a:endParaRPr lang="en-US" sz="816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0775359"/>
      </p:ext>
    </p:extLst>
  </p:cSld>
  <p:clrMapOvr>
    <a:masterClrMapping/>
  </p:clrMapOvr>
  <p:transition spd="med" advTm="5000">
    <p:random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3"/>
            <a:ext cx="12192000" cy="6857596"/>
          </a:xfrm>
          <a:prstGeom prst="rect">
            <a:avLst/>
          </a:prstGeom>
        </p:spPr>
      </p:pic>
      <p:sp>
        <p:nvSpPr>
          <p:cNvPr id="2" name="TitleRectangle"/>
          <p:cNvSpPr>
            <a:spLocks/>
          </p:cNvSpPr>
          <p:nvPr userDrawn="1"/>
        </p:nvSpPr>
        <p:spPr bwMode="white">
          <a:xfrm>
            <a:off x="2837962" y="2"/>
            <a:ext cx="9356199" cy="4048475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32" dirty="0">
              <a:solidFill>
                <a:srgbClr val="000000"/>
              </a:solidFill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62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8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2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8153069" y="6415251"/>
            <a:ext cx="379578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16" b="1" dirty="0">
                <a:solidFill>
                  <a:srgbClr val="FFFFFF"/>
                </a:solidFill>
                <a:latin typeface="Arial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8153070" y="6540861"/>
            <a:ext cx="4038929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16" smtClean="0">
                <a:solidFill>
                  <a:srgbClr val="FFFFFF"/>
                </a:solidFill>
                <a:latin typeface="Arial"/>
              </a:rPr>
              <a:t>Last Modified 08/09/2017 21:36 India Standard Time</a:t>
            </a:r>
            <a:endParaRPr lang="en-US" sz="816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8153069" y="6666473"/>
            <a:ext cx="379578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16" smtClean="0">
                <a:solidFill>
                  <a:srgbClr val="FFFFFF"/>
                </a:solidFill>
                <a:latin typeface="Arial"/>
              </a:rPr>
              <a:t>Printed 17/08/2017 19:26 India Standard Time</a:t>
            </a:r>
            <a:endParaRPr lang="en-US" sz="816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3085968" y="1463556"/>
            <a:ext cx="8478152" cy="502445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265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3085968" y="3182433"/>
            <a:ext cx="8478152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28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85968" y="3650596"/>
            <a:ext cx="8478152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28" dirty="0">
                <a:solidFill>
                  <a:srgbClr val="808080"/>
                </a:solidFill>
                <a:latin typeface="Arial"/>
              </a:rPr>
              <a:t>Document type 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white">
          <a:xfrm>
            <a:off x="11487911" y="37255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sz="816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8" name="LogoImage"/>
          <p:cNvSpPr>
            <a:spLocks noEditPoints="1"/>
          </p:cNvSpPr>
          <p:nvPr userDrawn="1"/>
        </p:nvSpPr>
        <p:spPr bwMode="auto">
          <a:xfrm>
            <a:off x="3085968" y="153714"/>
            <a:ext cx="2961769" cy="242909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32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3085968" y="6540989"/>
            <a:ext cx="4822213" cy="2510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2120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816" dirty="0">
                <a:solidFill>
                  <a:srgbClr val="FFFFFF"/>
                </a:solidFill>
              </a:rPr>
              <a:t>CONFIDENTIAL AND PROPRIETARY</a:t>
            </a:r>
          </a:p>
          <a:p>
            <a:pPr defTabSz="82120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816" dirty="0">
                <a:solidFill>
                  <a:srgbClr val="FFFFFF"/>
                </a:solidFill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3556064856"/>
      </p:ext>
    </p:extLst>
  </p:cSld>
  <p:clrMapOvr>
    <a:masterClrMapping/>
  </p:clrMapOvr>
  <p:transition spd="med" advTm="5000">
    <p:random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62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09" name="think-cell Slide" r:id="rId5" imgW="338" imgH="338" progId="TCLayout.ActiveDocument.1">
                  <p:embed/>
                </p:oleObj>
              </mc:Choice>
              <mc:Fallback>
                <p:oleObj name="think-cell Slide" r:id="rId5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2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11652054" y="6640500"/>
            <a:ext cx="128240" cy="12554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816" smtClean="0">
                <a:solidFill>
                  <a:srgbClr val="80808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16" dirty="0">
              <a:solidFill>
                <a:srgbClr val="808080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10485994" y="6640500"/>
            <a:ext cx="1029128" cy="125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26" fontAlgn="base">
              <a:spcBef>
                <a:spcPct val="0"/>
              </a:spcBef>
              <a:spcAft>
                <a:spcPct val="0"/>
              </a:spcAft>
            </a:pPr>
            <a:r>
              <a:rPr lang="en-US" sz="816" dirty="0">
                <a:solidFill>
                  <a:srgbClr val="808080"/>
                </a:solidFill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995479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 fontAlgn="base">
              <a:spcBef>
                <a:spcPct val="0"/>
              </a:spcBef>
              <a:spcAft>
                <a:spcPct val="0"/>
              </a:spcAft>
            </a:pPr>
            <a:endParaRPr lang="en-US" sz="816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494594"/>
      </p:ext>
    </p:extLst>
  </p:cSld>
  <p:clrMapOvr>
    <a:masterClrMapping/>
  </p:clrMapOvr>
  <p:transition spd="med" advTm="5000">
    <p:random/>
  </p:transition>
  <p:extLst mod="1">
    <p:ext uri="{DCECCB84-F9BA-43D5-87BE-67443E8EF086}">
      <p15:sldGuideLst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11652054" y="6640500"/>
            <a:ext cx="128240" cy="12554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816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16" dirty="0">
              <a:solidFill>
                <a:srgbClr val="FFFFFF"/>
              </a:solidFill>
            </a:endParaRPr>
          </a:p>
        </p:txBody>
      </p:sp>
      <p:sp>
        <p:nvSpPr>
          <p:cNvPr id="1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0485994" y="6640500"/>
            <a:ext cx="1029128" cy="125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26" fontAlgn="base">
              <a:spcBef>
                <a:spcPct val="0"/>
              </a:spcBef>
              <a:spcAft>
                <a:spcPct val="0"/>
              </a:spcAft>
            </a:pPr>
            <a:r>
              <a:rPr lang="en-US" sz="816" dirty="0">
                <a:solidFill>
                  <a:srgbClr val="FFFFFF"/>
                </a:solidFill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995479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 fontAlgn="base">
              <a:spcBef>
                <a:spcPct val="0"/>
              </a:spcBef>
              <a:spcAft>
                <a:spcPct val="0"/>
              </a:spcAft>
            </a:pPr>
            <a:endParaRPr lang="en-US" sz="816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8675063"/>
      </p:ext>
    </p:extLst>
  </p:cSld>
  <p:clrMapOvr>
    <a:masterClrMapping/>
  </p:clrMapOvr>
  <p:transition spd="med" advTm="5000">
    <p:random/>
  </p:transition>
  <p:extLst mod="1">
    <p:ext uri="{DCECCB84-F9BA-43D5-87BE-67443E8EF086}">
      <p15:sldGuideLst xmlns:p15="http://schemas.microsoft.com/office/powerpoint/2012/main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3"/>
            <a:ext cx="12192000" cy="6857596"/>
          </a:xfrm>
          <a:prstGeom prst="rect">
            <a:avLst/>
          </a:prstGeom>
        </p:spPr>
      </p:pic>
      <p:sp>
        <p:nvSpPr>
          <p:cNvPr id="2" name="TitleRectangle"/>
          <p:cNvSpPr>
            <a:spLocks/>
          </p:cNvSpPr>
          <p:nvPr userDrawn="1"/>
        </p:nvSpPr>
        <p:spPr bwMode="white">
          <a:xfrm>
            <a:off x="2837962" y="2"/>
            <a:ext cx="9356199" cy="4048475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32" dirty="0">
              <a:solidFill>
                <a:srgbClr val="000000"/>
              </a:solidFill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62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5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2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8153069" y="6415251"/>
            <a:ext cx="379578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16" b="1" dirty="0">
                <a:solidFill>
                  <a:srgbClr val="FFFFFF"/>
                </a:solidFill>
                <a:latin typeface="Arial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8153070" y="6540861"/>
            <a:ext cx="4038929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16" smtClean="0">
                <a:solidFill>
                  <a:srgbClr val="FFFFFF"/>
                </a:solidFill>
                <a:latin typeface="Arial"/>
              </a:rPr>
              <a:t>Last Modified 08/09/2017 21:36 India Standard Time</a:t>
            </a:r>
            <a:endParaRPr lang="en-US" sz="816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8153069" y="6666473"/>
            <a:ext cx="379578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16" smtClean="0">
                <a:solidFill>
                  <a:srgbClr val="FFFFFF"/>
                </a:solidFill>
                <a:latin typeface="Arial"/>
              </a:rPr>
              <a:t>Printed 31/07/2017 19:20 India Standard Time</a:t>
            </a:r>
            <a:endParaRPr lang="en-US" sz="816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3085968" y="1463556"/>
            <a:ext cx="8478152" cy="502445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265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3085968" y="3182433"/>
            <a:ext cx="8478152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28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85968" y="3650596"/>
            <a:ext cx="8478152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28" dirty="0">
                <a:solidFill>
                  <a:srgbClr val="808080"/>
                </a:solidFill>
                <a:latin typeface="Arial"/>
              </a:rPr>
              <a:t>Document type 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white">
          <a:xfrm>
            <a:off x="11487911" y="37255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sz="816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8" name="LogoImage"/>
          <p:cNvSpPr>
            <a:spLocks noEditPoints="1"/>
          </p:cNvSpPr>
          <p:nvPr userDrawn="1"/>
        </p:nvSpPr>
        <p:spPr bwMode="auto">
          <a:xfrm>
            <a:off x="3085968" y="153714"/>
            <a:ext cx="2961769" cy="242909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32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3085968" y="6540989"/>
            <a:ext cx="4822213" cy="2510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2120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816" dirty="0">
                <a:solidFill>
                  <a:srgbClr val="FFFFFF"/>
                </a:solidFill>
              </a:rPr>
              <a:t>CONFIDENTIAL AND PROPRIETARY</a:t>
            </a:r>
          </a:p>
          <a:p>
            <a:pPr defTabSz="82120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816" dirty="0">
                <a:solidFill>
                  <a:srgbClr val="FFFFFF"/>
                </a:solidFill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1978885633"/>
      </p:ext>
    </p:extLst>
  </p:cSld>
  <p:clrMapOvr>
    <a:masterClrMapping/>
  </p:clrMapOvr>
  <p:transition spd="med" advTm="5000">
    <p:random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13" Type="http://schemas.openxmlformats.org/officeDocument/2006/relationships/tags" Target="../tags/tag6.xml"/><Relationship Id="rId18" Type="http://schemas.openxmlformats.org/officeDocument/2006/relationships/tags" Target="../tags/tag11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4.xml"/><Relationship Id="rId7" Type="http://schemas.openxmlformats.org/officeDocument/2006/relationships/vmlDrawing" Target="../drawings/vmlDrawing1.vml"/><Relationship Id="rId12" Type="http://schemas.openxmlformats.org/officeDocument/2006/relationships/tags" Target="../tags/tag5.xml"/><Relationship Id="rId17" Type="http://schemas.openxmlformats.org/officeDocument/2006/relationships/tags" Target="../tags/tag10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9.xml"/><Relationship Id="rId20" Type="http://schemas.openxmlformats.org/officeDocument/2006/relationships/tags" Target="../tags/tag13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tags" Target="../tags/tag4.xml"/><Relationship Id="rId24" Type="http://schemas.openxmlformats.org/officeDocument/2006/relationships/tags" Target="../tags/tag17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8.xml"/><Relationship Id="rId23" Type="http://schemas.openxmlformats.org/officeDocument/2006/relationships/tags" Target="../tags/tag16.xml"/><Relationship Id="rId10" Type="http://schemas.openxmlformats.org/officeDocument/2006/relationships/tags" Target="../tags/tag3.xml"/><Relationship Id="rId19" Type="http://schemas.openxmlformats.org/officeDocument/2006/relationships/tags" Target="../tags/tag12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Relationship Id="rId14" Type="http://schemas.openxmlformats.org/officeDocument/2006/relationships/tags" Target="../tags/tag7.xml"/><Relationship Id="rId22" Type="http://schemas.openxmlformats.org/officeDocument/2006/relationships/tags" Target="../tags/tag15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tags" Target="../tags/tag31.xml"/><Relationship Id="rId18" Type="http://schemas.openxmlformats.org/officeDocument/2006/relationships/tags" Target="../tags/tag36.xml"/><Relationship Id="rId3" Type="http://schemas.openxmlformats.org/officeDocument/2006/relationships/slideLayout" Target="../slideLayouts/slideLayout8.xml"/><Relationship Id="rId21" Type="http://schemas.openxmlformats.org/officeDocument/2006/relationships/tags" Target="../tags/tag39.xml"/><Relationship Id="rId7" Type="http://schemas.openxmlformats.org/officeDocument/2006/relationships/tags" Target="../tags/tag25.xml"/><Relationship Id="rId12" Type="http://schemas.openxmlformats.org/officeDocument/2006/relationships/tags" Target="../tags/tag30.xml"/><Relationship Id="rId17" Type="http://schemas.openxmlformats.org/officeDocument/2006/relationships/tags" Target="../tags/tag35.xml"/><Relationship Id="rId2" Type="http://schemas.openxmlformats.org/officeDocument/2006/relationships/slideLayout" Target="../slideLayouts/slideLayout7.xml"/><Relationship Id="rId16" Type="http://schemas.openxmlformats.org/officeDocument/2006/relationships/tags" Target="../tags/tag34.xml"/><Relationship Id="rId20" Type="http://schemas.openxmlformats.org/officeDocument/2006/relationships/tags" Target="../tags/tag38.xml"/><Relationship Id="rId1" Type="http://schemas.openxmlformats.org/officeDocument/2006/relationships/slideLayout" Target="../slideLayouts/slideLayout6.xml"/><Relationship Id="rId6" Type="http://schemas.openxmlformats.org/officeDocument/2006/relationships/tags" Target="../tags/tag24.xml"/><Relationship Id="rId11" Type="http://schemas.openxmlformats.org/officeDocument/2006/relationships/tags" Target="../tags/tag29.xml"/><Relationship Id="rId24" Type="http://schemas.openxmlformats.org/officeDocument/2006/relationships/image" Target="../media/image1.emf"/><Relationship Id="rId5" Type="http://schemas.openxmlformats.org/officeDocument/2006/relationships/vmlDrawing" Target="../drawings/vmlDrawing5.vml"/><Relationship Id="rId15" Type="http://schemas.openxmlformats.org/officeDocument/2006/relationships/tags" Target="../tags/tag33.xml"/><Relationship Id="rId23" Type="http://schemas.openxmlformats.org/officeDocument/2006/relationships/oleObject" Target="../embeddings/oleObject5.bin"/><Relationship Id="rId10" Type="http://schemas.openxmlformats.org/officeDocument/2006/relationships/tags" Target="../tags/tag28.xml"/><Relationship Id="rId19" Type="http://schemas.openxmlformats.org/officeDocument/2006/relationships/tags" Target="../tags/tag37.xml"/><Relationship Id="rId4" Type="http://schemas.openxmlformats.org/officeDocument/2006/relationships/theme" Target="../theme/theme2.xml"/><Relationship Id="rId9" Type="http://schemas.openxmlformats.org/officeDocument/2006/relationships/tags" Target="../tags/tag27.xml"/><Relationship Id="rId14" Type="http://schemas.openxmlformats.org/officeDocument/2006/relationships/tags" Target="../tags/tag32.xml"/><Relationship Id="rId22" Type="http://schemas.openxmlformats.org/officeDocument/2006/relationships/tags" Target="../tags/tag4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45.xml"/><Relationship Id="rId13" Type="http://schemas.openxmlformats.org/officeDocument/2006/relationships/tags" Target="../tags/tag50.xml"/><Relationship Id="rId18" Type="http://schemas.openxmlformats.org/officeDocument/2006/relationships/tags" Target="../tags/tag55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11.xml"/><Relationship Id="rId21" Type="http://schemas.openxmlformats.org/officeDocument/2006/relationships/tags" Target="../tags/tag58.xml"/><Relationship Id="rId7" Type="http://schemas.openxmlformats.org/officeDocument/2006/relationships/vmlDrawing" Target="../drawings/vmlDrawing8.vml"/><Relationship Id="rId12" Type="http://schemas.openxmlformats.org/officeDocument/2006/relationships/tags" Target="../tags/tag49.xml"/><Relationship Id="rId17" Type="http://schemas.openxmlformats.org/officeDocument/2006/relationships/tags" Target="../tags/tag54.xml"/><Relationship Id="rId25" Type="http://schemas.openxmlformats.org/officeDocument/2006/relationships/oleObject" Target="../embeddings/oleObject8.bin"/><Relationship Id="rId2" Type="http://schemas.openxmlformats.org/officeDocument/2006/relationships/slideLayout" Target="../slideLayouts/slideLayout10.xml"/><Relationship Id="rId16" Type="http://schemas.openxmlformats.org/officeDocument/2006/relationships/tags" Target="../tags/tag53.xml"/><Relationship Id="rId20" Type="http://schemas.openxmlformats.org/officeDocument/2006/relationships/tags" Target="../tags/tag57.xml"/><Relationship Id="rId1" Type="http://schemas.openxmlformats.org/officeDocument/2006/relationships/slideLayout" Target="../slideLayouts/slideLayout9.xml"/><Relationship Id="rId6" Type="http://schemas.openxmlformats.org/officeDocument/2006/relationships/theme" Target="../theme/theme3.xml"/><Relationship Id="rId11" Type="http://schemas.openxmlformats.org/officeDocument/2006/relationships/tags" Target="../tags/tag48.xml"/><Relationship Id="rId24" Type="http://schemas.openxmlformats.org/officeDocument/2006/relationships/tags" Target="../tags/tag61.xml"/><Relationship Id="rId5" Type="http://schemas.openxmlformats.org/officeDocument/2006/relationships/slideLayout" Target="../slideLayouts/slideLayout13.xml"/><Relationship Id="rId15" Type="http://schemas.openxmlformats.org/officeDocument/2006/relationships/tags" Target="../tags/tag52.xml"/><Relationship Id="rId23" Type="http://schemas.openxmlformats.org/officeDocument/2006/relationships/tags" Target="../tags/tag60.xml"/><Relationship Id="rId10" Type="http://schemas.openxmlformats.org/officeDocument/2006/relationships/tags" Target="../tags/tag47.xml"/><Relationship Id="rId19" Type="http://schemas.openxmlformats.org/officeDocument/2006/relationships/tags" Target="../tags/tag56.xml"/><Relationship Id="rId4" Type="http://schemas.openxmlformats.org/officeDocument/2006/relationships/slideLayout" Target="../slideLayouts/slideLayout12.xml"/><Relationship Id="rId9" Type="http://schemas.openxmlformats.org/officeDocument/2006/relationships/tags" Target="../tags/tag46.xml"/><Relationship Id="rId14" Type="http://schemas.openxmlformats.org/officeDocument/2006/relationships/tags" Target="../tags/tag51.xml"/><Relationship Id="rId22" Type="http://schemas.openxmlformats.org/officeDocument/2006/relationships/tags" Target="../tags/tag5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tiff"/><Relationship Id="rId3" Type="http://schemas.openxmlformats.org/officeDocument/2006/relationships/slideLayout" Target="../slideLayouts/slideLayout27.xml"/><Relationship Id="rId7" Type="http://schemas.openxmlformats.org/officeDocument/2006/relationships/theme" Target="../theme/theme5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8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tiff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31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theme" Target="../theme/theme7.xml"/><Relationship Id="rId2" Type="http://schemas.openxmlformats.org/officeDocument/2006/relationships/slideLayout" Target="../slideLayouts/slideLayout33.xml"/><Relationship Id="rId1" Type="http://schemas.openxmlformats.org/officeDocument/2006/relationships/slideLayout" Target="../slideLayouts/slideLayout32.xml"/><Relationship Id="rId4" Type="http://schemas.openxmlformats.org/officeDocument/2006/relationships/image" Target="../media/image7.tif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/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9" name="think-cell Slide" r:id="rId25" imgW="270" imgH="270" progId="TCLayout.ActiveDocument.1">
                  <p:embed/>
                </p:oleObj>
              </mc:Choice>
              <mc:Fallback>
                <p:oleObj name="think-cell Slide" r:id="rId2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9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32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11183261" y="1980017"/>
            <a:ext cx="1827423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12" smtClean="0">
                <a:solidFill>
                  <a:srgbClr val="808080"/>
                </a:solidFill>
                <a:latin typeface="Arial"/>
              </a:rPr>
              <a:t>Last Modified 08/09/2017 21:36 India Standard Time</a:t>
            </a:r>
            <a:endParaRPr lang="en-US" sz="1632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292265" y="4197997"/>
            <a:ext cx="1609415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12" smtClean="0">
                <a:solidFill>
                  <a:srgbClr val="808080"/>
                </a:solidFill>
                <a:latin typeface="Arial"/>
              </a:rPr>
              <a:t>Printed 17/08/2017 19:26 India Standard Time</a:t>
            </a:r>
            <a:endParaRPr lang="en-US" sz="1632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986" y="234864"/>
            <a:ext cx="11725484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smtClean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986" y="77304"/>
            <a:ext cx="501740" cy="125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816" cap="all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86" y="566136"/>
            <a:ext cx="11725484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32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 userDrawn="1"/>
        </p:nvGrpSpPr>
        <p:grpSpPr bwMode="gray">
          <a:xfrm>
            <a:off x="161986" y="6432274"/>
            <a:ext cx="11725484" cy="333805"/>
            <a:chOff x="119063" y="6304223"/>
            <a:chExt cx="8618537" cy="327160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304223"/>
              <a:ext cx="8618537" cy="12554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16" dirty="0">
                  <a:solidFill>
                    <a:srgbClr val="80808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19063" y="6505836"/>
              <a:ext cx="7200000" cy="12554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21975" indent="-621975" defTabSz="913526" fontAlgn="base">
                <a:spcBef>
                  <a:spcPct val="0"/>
                </a:spcBef>
                <a:spcAft>
                  <a:spcPct val="0"/>
                </a:spcAft>
                <a:tabLst>
                  <a:tab pos="643032" algn="l"/>
                </a:tabLst>
              </a:pPr>
              <a:r>
                <a:rPr lang="en-US" sz="816" dirty="0">
                  <a:solidFill>
                    <a:srgbClr val="808080"/>
                  </a:solidFill>
                </a:rPr>
                <a:t>SOURCE: Sourc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76208" y="1991017"/>
            <a:ext cx="5853024" cy="113050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smtClean="0"/>
              <a:t>Click to edit Master text styles</a:t>
            </a:r>
          </a:p>
          <a:p>
            <a:pPr lvl="1" latinLnBrk="0"/>
            <a:r>
              <a:rPr lang="en-US" smtClean="0"/>
              <a:t>Second level</a:t>
            </a:r>
          </a:p>
          <a:p>
            <a:pPr lvl="2" latinLnBrk="0"/>
            <a:r>
              <a:rPr lang="en-US" smtClean="0"/>
              <a:t>Third level</a:t>
            </a:r>
          </a:p>
          <a:p>
            <a:pPr lvl="3" latinLnBrk="0"/>
            <a:r>
              <a:rPr lang="en-US" smtClean="0"/>
              <a:t>Fourth level</a:t>
            </a:r>
          </a:p>
          <a:p>
            <a:pPr lvl="4" latinLnBrk="0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6207" y="1270343"/>
            <a:ext cx="5801189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32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32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/>
        </p:nvGrpSpPr>
        <p:grpSpPr bwMode="gray">
          <a:xfrm>
            <a:off x="11404512" y="291554"/>
            <a:ext cx="482953" cy="153247"/>
            <a:chOff x="8385792" y="285750"/>
            <a:chExt cx="354983" cy="150196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92" y="285750"/>
              <a:ext cx="354983" cy="15019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816" dirty="0">
                  <a:solidFill>
                    <a:srgbClr val="808080"/>
                  </a:solidFill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92" y="285750"/>
              <a:ext cx="0" cy="150196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92" y="435946"/>
              <a:ext cx="354983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 userDrawn="1"/>
        </p:nvSpPr>
        <p:spPr>
          <a:xfrm>
            <a:off x="11576461" y="6455859"/>
            <a:ext cx="62200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32" dirty="0">
              <a:solidFill>
                <a:srgbClr val="000000"/>
              </a:solidFill>
            </a:endParaRPr>
          </a:p>
        </p:txBody>
      </p:sp>
      <p:sp>
        <p:nvSpPr>
          <p:cNvPr id="23" name="doc id" hidden="1"/>
          <p:cNvSpPr>
            <a:spLocks noChangeArrowheads="1"/>
          </p:cNvSpPr>
          <p:nvPr userDrawn="1"/>
        </p:nvSpPr>
        <p:spPr bwMode="auto">
          <a:xfrm>
            <a:off x="10995479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 fontAlgn="base">
              <a:spcBef>
                <a:spcPct val="0"/>
              </a:spcBef>
              <a:spcAft>
                <a:spcPct val="0"/>
              </a:spcAft>
            </a:pPr>
            <a:endParaRPr lang="en-US" sz="816" dirty="0">
              <a:solidFill>
                <a:srgbClr val="808080"/>
              </a:solidFill>
            </a:endParaRPr>
          </a:p>
        </p:txBody>
      </p:sp>
      <p:grpSp>
        <p:nvGrpSpPr>
          <p:cNvPr id="26" name="LegendBoxes" hidden="1"/>
          <p:cNvGrpSpPr/>
          <p:nvPr userDrawn="1"/>
        </p:nvGrpSpPr>
        <p:grpSpPr bwMode="gray">
          <a:xfrm>
            <a:off x="10768457" y="285075"/>
            <a:ext cx="864940" cy="1017696"/>
            <a:chOff x="7835905" y="279400"/>
            <a:chExt cx="635753" cy="997436"/>
          </a:xfrm>
        </p:grpSpPr>
        <p:sp>
          <p:nvSpPr>
            <p:cNvPr id="27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solidFill>
                  <a:srgbClr val="000000"/>
                </a:solidFill>
              </a:endParaRPr>
            </a:p>
          </p:txBody>
        </p:sp>
        <p:sp>
          <p:nvSpPr>
            <p:cNvPr id="28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solidFill>
                  <a:srgbClr val="000000"/>
                </a:solidFill>
              </a:endParaRPr>
            </a:p>
          </p:txBody>
        </p:sp>
        <p:sp>
          <p:nvSpPr>
            <p:cNvPr id="29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solidFill>
                  <a:srgbClr val="000000"/>
                </a:solidFill>
              </a:endParaRPr>
            </a:p>
          </p:txBody>
        </p:sp>
        <p:sp>
          <p:nvSpPr>
            <p:cNvPr id="30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solidFill>
                  <a:srgbClr val="000000"/>
                </a:solidFill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5" name="LegendLines" hidden="1"/>
          <p:cNvGrpSpPr/>
          <p:nvPr userDrawn="1"/>
        </p:nvGrpSpPr>
        <p:grpSpPr bwMode="gray">
          <a:xfrm>
            <a:off x="10349683" y="285076"/>
            <a:ext cx="1283938" cy="745579"/>
            <a:chOff x="7540629" y="279400"/>
            <a:chExt cx="943728" cy="730736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solidFill>
                  <a:srgbClr val="000000"/>
                </a:solidFill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solidFill>
                  <a:srgbClr val="000000"/>
                </a:solidFill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solidFill>
                  <a:srgbClr val="000000"/>
                </a:solidFill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42" name="LegendMoons" hidden="1"/>
          <p:cNvGrpSpPr/>
          <p:nvPr userDrawn="1"/>
        </p:nvGrpSpPr>
        <p:grpSpPr bwMode="gray">
          <a:xfrm>
            <a:off x="10677744" y="255920"/>
            <a:ext cx="955650" cy="1333054"/>
            <a:chOff x="7769225" y="250825"/>
            <a:chExt cx="702428" cy="1306516"/>
          </a:xfrm>
        </p:grpSpPr>
        <p:grpSp>
          <p:nvGrpSpPr>
            <p:cNvPr id="43" name="MoonLegend1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1" name="Oval 38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32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Arc 39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32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4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32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32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5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32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32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6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5" name="Oval 50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32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6" name="Oval 5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32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7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32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32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sp>
        <p:nvSpPr>
          <p:cNvPr id="5" name="MSIPCM9e8f421cae3b8a833ebccc7a" descr="{&quot;HashCode&quot;:-128289487,&quot;Placement&quot;:&quot;Footer&quot;,&quot;Top&quot;:522.0343,&quot;Left&quot;:0.0}"/>
          <p:cNvSpPr txBox="1"/>
          <p:nvPr userDrawn="1"/>
        </p:nvSpPr>
        <p:spPr>
          <a:xfrm>
            <a:off x="0" y="6629836"/>
            <a:ext cx="1986005" cy="228163"/>
          </a:xfrm>
          <a:prstGeom prst="rect">
            <a:avLst/>
          </a:prstGeom>
          <a:noFill/>
        </p:spPr>
        <p:txBody>
          <a:bodyPr vert="horz" wrap="none" t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US" sz="800" smtClean="0">
                <a:solidFill>
                  <a:srgbClr val="000000"/>
                </a:solidFill>
                <a:latin typeface="Calibri" panose="020F0502020204030204" pitchFamily="34" charset="0"/>
              </a:rPr>
              <a:t>Sensitivity: LNT Construction Internal Use</a:t>
            </a:r>
            <a:endParaRPr lang="en-US" sz="80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911346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728" r:id="rId4"/>
    <p:sldLayoutId id="2147483679" r:id="rId5"/>
  </p:sldLayoutIdLst>
  <p:transition spd="med" advTm="5000">
    <p:random/>
  </p:transition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2041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28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28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28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28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28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1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32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11183261" y="1980017"/>
            <a:ext cx="1827423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12" smtClean="0">
                <a:solidFill>
                  <a:srgbClr val="808080"/>
                </a:solidFill>
                <a:latin typeface="Arial"/>
              </a:rPr>
              <a:t>Last Modified 08/09/2017 21:36 India Standard Time</a:t>
            </a:r>
            <a:endParaRPr lang="en-US" sz="1632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292265" y="4197997"/>
            <a:ext cx="1609415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12" smtClean="0">
                <a:solidFill>
                  <a:srgbClr val="808080"/>
                </a:solidFill>
                <a:latin typeface="Arial"/>
              </a:rPr>
              <a:t>Printed 17/08/2017 19:26 India Standard Time</a:t>
            </a:r>
            <a:endParaRPr lang="en-US" sz="1632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986" y="234864"/>
            <a:ext cx="11725484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smtClean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986" y="77304"/>
            <a:ext cx="501740" cy="125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816" cap="all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86" y="566136"/>
            <a:ext cx="11725484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32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 userDrawn="1"/>
        </p:nvGrpSpPr>
        <p:grpSpPr bwMode="gray">
          <a:xfrm>
            <a:off x="161986" y="6432274"/>
            <a:ext cx="11725484" cy="333805"/>
            <a:chOff x="119063" y="6304223"/>
            <a:chExt cx="8618537" cy="327160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304223"/>
              <a:ext cx="8618537" cy="12554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16" dirty="0">
                  <a:solidFill>
                    <a:srgbClr val="80808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19063" y="6505836"/>
              <a:ext cx="7200000" cy="12554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21975" indent="-621975" defTabSz="913526" fontAlgn="base">
                <a:spcBef>
                  <a:spcPct val="0"/>
                </a:spcBef>
                <a:spcAft>
                  <a:spcPct val="0"/>
                </a:spcAft>
                <a:tabLst>
                  <a:tab pos="643032" algn="l"/>
                </a:tabLst>
              </a:pPr>
              <a:r>
                <a:rPr lang="en-US" sz="816" dirty="0">
                  <a:solidFill>
                    <a:srgbClr val="808080"/>
                  </a:solidFill>
                </a:rPr>
                <a:t>SOURCE: Sourc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76208" y="1991017"/>
            <a:ext cx="5853024" cy="113050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smtClean="0"/>
              <a:t>Click to edit Master text styles</a:t>
            </a:r>
          </a:p>
          <a:p>
            <a:pPr lvl="1" latinLnBrk="0"/>
            <a:r>
              <a:rPr lang="en-US" smtClean="0"/>
              <a:t>Second level</a:t>
            </a:r>
          </a:p>
          <a:p>
            <a:pPr lvl="2" latinLnBrk="0"/>
            <a:r>
              <a:rPr lang="en-US" smtClean="0"/>
              <a:t>Third level</a:t>
            </a:r>
          </a:p>
          <a:p>
            <a:pPr lvl="3" latinLnBrk="0"/>
            <a:r>
              <a:rPr lang="en-US" smtClean="0"/>
              <a:t>Fourth level</a:t>
            </a:r>
          </a:p>
          <a:p>
            <a:pPr lvl="4" latinLnBrk="0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6207" y="1270343"/>
            <a:ext cx="5801189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32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32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/>
        </p:nvGrpSpPr>
        <p:grpSpPr bwMode="gray">
          <a:xfrm>
            <a:off x="11404512" y="291554"/>
            <a:ext cx="482953" cy="153247"/>
            <a:chOff x="8385792" y="285750"/>
            <a:chExt cx="354983" cy="150196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92" y="285750"/>
              <a:ext cx="354983" cy="15019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816" dirty="0">
                  <a:solidFill>
                    <a:srgbClr val="808080"/>
                  </a:solidFill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92" y="285750"/>
              <a:ext cx="0" cy="150196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92" y="435946"/>
              <a:ext cx="354983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 userDrawn="1"/>
        </p:nvSpPr>
        <p:spPr>
          <a:xfrm>
            <a:off x="11576461" y="6455859"/>
            <a:ext cx="62200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32" dirty="0">
              <a:solidFill>
                <a:srgbClr val="000000"/>
              </a:solidFill>
            </a:endParaRPr>
          </a:p>
        </p:txBody>
      </p:sp>
      <p:sp>
        <p:nvSpPr>
          <p:cNvPr id="23" name="doc id" hidden="1"/>
          <p:cNvSpPr>
            <a:spLocks noChangeArrowheads="1"/>
          </p:cNvSpPr>
          <p:nvPr userDrawn="1"/>
        </p:nvSpPr>
        <p:spPr bwMode="auto">
          <a:xfrm>
            <a:off x="10995479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 fontAlgn="base">
              <a:spcBef>
                <a:spcPct val="0"/>
              </a:spcBef>
              <a:spcAft>
                <a:spcPct val="0"/>
              </a:spcAft>
            </a:pPr>
            <a:endParaRPr lang="en-US" sz="816" dirty="0">
              <a:solidFill>
                <a:srgbClr val="808080"/>
              </a:solidFill>
            </a:endParaRPr>
          </a:p>
        </p:txBody>
      </p:sp>
      <p:grpSp>
        <p:nvGrpSpPr>
          <p:cNvPr id="26" name="LegendBoxes" hidden="1"/>
          <p:cNvGrpSpPr/>
          <p:nvPr userDrawn="1"/>
        </p:nvGrpSpPr>
        <p:grpSpPr bwMode="gray">
          <a:xfrm>
            <a:off x="10768457" y="285075"/>
            <a:ext cx="864940" cy="1017696"/>
            <a:chOff x="7835905" y="279400"/>
            <a:chExt cx="635753" cy="997436"/>
          </a:xfrm>
        </p:grpSpPr>
        <p:sp>
          <p:nvSpPr>
            <p:cNvPr id="27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solidFill>
                  <a:srgbClr val="000000"/>
                </a:solidFill>
              </a:endParaRPr>
            </a:p>
          </p:txBody>
        </p:sp>
        <p:sp>
          <p:nvSpPr>
            <p:cNvPr id="28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solidFill>
                  <a:srgbClr val="000000"/>
                </a:solidFill>
              </a:endParaRPr>
            </a:p>
          </p:txBody>
        </p:sp>
        <p:sp>
          <p:nvSpPr>
            <p:cNvPr id="29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solidFill>
                  <a:srgbClr val="000000"/>
                </a:solidFill>
              </a:endParaRPr>
            </a:p>
          </p:txBody>
        </p:sp>
        <p:sp>
          <p:nvSpPr>
            <p:cNvPr id="30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solidFill>
                  <a:srgbClr val="000000"/>
                </a:solidFill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5" name="LegendLines" hidden="1"/>
          <p:cNvGrpSpPr/>
          <p:nvPr userDrawn="1"/>
        </p:nvGrpSpPr>
        <p:grpSpPr bwMode="gray">
          <a:xfrm>
            <a:off x="10349683" y="285076"/>
            <a:ext cx="1283938" cy="745579"/>
            <a:chOff x="7540629" y="279400"/>
            <a:chExt cx="943728" cy="730736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solidFill>
                  <a:srgbClr val="000000"/>
                </a:solidFill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solidFill>
                  <a:srgbClr val="000000"/>
                </a:solidFill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solidFill>
                  <a:srgbClr val="000000"/>
                </a:solidFill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42" name="LegendMoons" hidden="1"/>
          <p:cNvGrpSpPr/>
          <p:nvPr userDrawn="1"/>
        </p:nvGrpSpPr>
        <p:grpSpPr bwMode="gray">
          <a:xfrm>
            <a:off x="10677744" y="255920"/>
            <a:ext cx="955650" cy="1333054"/>
            <a:chOff x="7769225" y="250825"/>
            <a:chExt cx="702428" cy="1306516"/>
          </a:xfrm>
        </p:grpSpPr>
        <p:grpSp>
          <p:nvGrpSpPr>
            <p:cNvPr id="43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1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32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32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4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32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32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5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32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32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6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5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32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6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32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7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32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32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sp>
        <p:nvSpPr>
          <p:cNvPr id="5" name="MSIPCM6ed3456fb8999c7818a8eb4e" descr="{&quot;HashCode&quot;:-128289487,&quot;Placement&quot;:&quot;Footer&quot;,&quot;Top&quot;:522.0343,&quot;Left&quot;:0.0}"/>
          <p:cNvSpPr txBox="1"/>
          <p:nvPr userDrawn="1"/>
        </p:nvSpPr>
        <p:spPr>
          <a:xfrm>
            <a:off x="0" y="6629836"/>
            <a:ext cx="1986005" cy="228163"/>
          </a:xfrm>
          <a:prstGeom prst="rect">
            <a:avLst/>
          </a:prstGeom>
          <a:noFill/>
        </p:spPr>
        <p:txBody>
          <a:bodyPr vert="horz" wrap="none" t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US" sz="800" smtClean="0">
                <a:solidFill>
                  <a:srgbClr val="000000"/>
                </a:solidFill>
                <a:latin typeface="Calibri" panose="020F0502020204030204" pitchFamily="34" charset="0"/>
              </a:rPr>
              <a:t>Sensitivity: LNT Construction Internal Use</a:t>
            </a:r>
            <a:endParaRPr lang="en-US" sz="80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22957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</p:sldLayoutIdLst>
  <p:transition spd="med" advTm="5000">
    <p:random/>
  </p:transition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2041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28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28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28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28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28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/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33" name="think-cell Slide" r:id="rId25" imgW="270" imgH="270" progId="TCLayout.ActiveDocument.1">
                  <p:embed/>
                </p:oleObj>
              </mc:Choice>
              <mc:Fallback>
                <p:oleObj name="think-cell Slide" r:id="rId2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9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32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986" y="234864"/>
            <a:ext cx="11725484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smtClean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986" y="77304"/>
            <a:ext cx="501740" cy="125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816" cap="all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86" y="566136"/>
            <a:ext cx="11725484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32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 userDrawn="1"/>
        </p:nvGrpSpPr>
        <p:grpSpPr bwMode="gray">
          <a:xfrm>
            <a:off x="161986" y="6432274"/>
            <a:ext cx="11725484" cy="333805"/>
            <a:chOff x="119063" y="6304223"/>
            <a:chExt cx="8618537" cy="327160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304223"/>
              <a:ext cx="8618537" cy="12554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16" dirty="0">
                  <a:solidFill>
                    <a:srgbClr val="80808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19063" y="6505836"/>
              <a:ext cx="7200000" cy="12554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21975" indent="-621975" defTabSz="913526" fontAlgn="base">
                <a:spcBef>
                  <a:spcPct val="0"/>
                </a:spcBef>
                <a:spcAft>
                  <a:spcPct val="0"/>
                </a:spcAft>
                <a:tabLst>
                  <a:tab pos="643032" algn="l"/>
                </a:tabLst>
              </a:pPr>
              <a:endParaRPr lang="en-US" sz="816" dirty="0">
                <a:solidFill>
                  <a:srgbClr val="808080"/>
                </a:solidFill>
              </a:endParaRP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76208" y="1991017"/>
            <a:ext cx="5853024" cy="113050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 smtClean="0"/>
              <a:t>Click to edit Master text styles</a:t>
            </a:r>
          </a:p>
          <a:p>
            <a:pPr lvl="1" latinLnBrk="0"/>
            <a:r>
              <a:rPr lang="en-US" dirty="0" smtClean="0"/>
              <a:t>Second level</a:t>
            </a:r>
          </a:p>
          <a:p>
            <a:pPr lvl="2" latinLnBrk="0"/>
            <a:r>
              <a:rPr lang="en-US" dirty="0" smtClean="0"/>
              <a:t>Third level</a:t>
            </a:r>
          </a:p>
          <a:p>
            <a:pPr lvl="3" latinLnBrk="0"/>
            <a:r>
              <a:rPr lang="en-US" dirty="0" smtClean="0"/>
              <a:t>Fourth level</a:t>
            </a:r>
          </a:p>
          <a:p>
            <a:pPr lvl="4" latinLnBrk="0"/>
            <a:r>
              <a:rPr lang="en-US" dirty="0" smtClean="0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6207" y="1270343"/>
            <a:ext cx="5801189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32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32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/>
        </p:nvGrpSpPr>
        <p:grpSpPr bwMode="gray">
          <a:xfrm>
            <a:off x="11404512" y="291554"/>
            <a:ext cx="482953" cy="153247"/>
            <a:chOff x="8385792" y="285750"/>
            <a:chExt cx="354983" cy="150196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92" y="285750"/>
              <a:ext cx="354983" cy="15019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816" dirty="0">
                  <a:solidFill>
                    <a:srgbClr val="808080"/>
                  </a:solidFill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92" y="285750"/>
              <a:ext cx="0" cy="150196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92" y="435946"/>
              <a:ext cx="354983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 userDrawn="1"/>
        </p:nvSpPr>
        <p:spPr>
          <a:xfrm>
            <a:off x="11576461" y="6455859"/>
            <a:ext cx="62200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32" dirty="0">
              <a:solidFill>
                <a:srgbClr val="000000"/>
              </a:solidFill>
            </a:endParaRPr>
          </a:p>
        </p:txBody>
      </p:sp>
      <p:sp>
        <p:nvSpPr>
          <p:cNvPr id="23" name="doc id" hidden="1"/>
          <p:cNvSpPr>
            <a:spLocks noChangeArrowheads="1"/>
          </p:cNvSpPr>
          <p:nvPr userDrawn="1"/>
        </p:nvSpPr>
        <p:spPr bwMode="auto">
          <a:xfrm>
            <a:off x="10995479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 fontAlgn="base">
              <a:spcBef>
                <a:spcPct val="0"/>
              </a:spcBef>
              <a:spcAft>
                <a:spcPct val="0"/>
              </a:spcAft>
            </a:pPr>
            <a:endParaRPr lang="en-US" sz="816" dirty="0">
              <a:solidFill>
                <a:srgbClr val="808080"/>
              </a:solidFill>
            </a:endParaRPr>
          </a:p>
        </p:txBody>
      </p:sp>
      <p:grpSp>
        <p:nvGrpSpPr>
          <p:cNvPr id="26" name="LegendBoxes" hidden="1"/>
          <p:cNvGrpSpPr/>
          <p:nvPr userDrawn="1"/>
        </p:nvGrpSpPr>
        <p:grpSpPr bwMode="gray">
          <a:xfrm>
            <a:off x="10768457" y="285075"/>
            <a:ext cx="864940" cy="1017696"/>
            <a:chOff x="7835905" y="279400"/>
            <a:chExt cx="635753" cy="997436"/>
          </a:xfrm>
        </p:grpSpPr>
        <p:sp>
          <p:nvSpPr>
            <p:cNvPr id="27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solidFill>
                  <a:srgbClr val="000000"/>
                </a:solidFill>
              </a:endParaRPr>
            </a:p>
          </p:txBody>
        </p:sp>
        <p:sp>
          <p:nvSpPr>
            <p:cNvPr id="28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solidFill>
                  <a:srgbClr val="000000"/>
                </a:solidFill>
              </a:endParaRPr>
            </a:p>
          </p:txBody>
        </p:sp>
        <p:sp>
          <p:nvSpPr>
            <p:cNvPr id="29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solidFill>
                  <a:srgbClr val="000000"/>
                </a:solidFill>
              </a:endParaRPr>
            </a:p>
          </p:txBody>
        </p:sp>
        <p:sp>
          <p:nvSpPr>
            <p:cNvPr id="30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solidFill>
                  <a:srgbClr val="000000"/>
                </a:solidFill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5" name="LegendLines" hidden="1"/>
          <p:cNvGrpSpPr/>
          <p:nvPr userDrawn="1"/>
        </p:nvGrpSpPr>
        <p:grpSpPr bwMode="gray">
          <a:xfrm>
            <a:off x="10349683" y="285076"/>
            <a:ext cx="1283938" cy="745579"/>
            <a:chOff x="7540629" y="279400"/>
            <a:chExt cx="943728" cy="730736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solidFill>
                  <a:srgbClr val="000000"/>
                </a:solidFill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solidFill>
                  <a:srgbClr val="000000"/>
                </a:solidFill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solidFill>
                  <a:srgbClr val="000000"/>
                </a:solidFill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42" name="LegendMoons" hidden="1"/>
          <p:cNvGrpSpPr/>
          <p:nvPr userDrawn="1"/>
        </p:nvGrpSpPr>
        <p:grpSpPr bwMode="gray">
          <a:xfrm>
            <a:off x="10677744" y="255920"/>
            <a:ext cx="955650" cy="1333054"/>
            <a:chOff x="7769225" y="250825"/>
            <a:chExt cx="702428" cy="1306516"/>
          </a:xfrm>
        </p:grpSpPr>
        <p:grpSp>
          <p:nvGrpSpPr>
            <p:cNvPr id="43" name="MoonLegend1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1" name="Oval 38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32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Arc 39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32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4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32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32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5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32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32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6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5" name="Oval 50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32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6" name="Oval 5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32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7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32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32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sp>
        <p:nvSpPr>
          <p:cNvPr id="63" name="Freeform 62"/>
          <p:cNvSpPr/>
          <p:nvPr userDrawn="1"/>
        </p:nvSpPr>
        <p:spPr>
          <a:xfrm>
            <a:off x="10653768" y="21151"/>
            <a:ext cx="1499355" cy="194277"/>
          </a:xfrm>
          <a:custGeom>
            <a:avLst/>
            <a:gdLst>
              <a:gd name="connsiteX0" fmla="*/ 10509 w 2317410"/>
              <a:gd name="connsiteY0" fmla="*/ 0 h 701191"/>
              <a:gd name="connsiteX1" fmla="*/ 149586 w 2317410"/>
              <a:gd name="connsiteY1" fmla="*/ 0 h 701191"/>
              <a:gd name="connsiteX2" fmla="*/ 231672 w 2317410"/>
              <a:gd name="connsiteY2" fmla="*/ 235708 h 701191"/>
              <a:gd name="connsiteX3" fmla="*/ 174321 w 2317410"/>
              <a:gd name="connsiteY3" fmla="*/ 400390 h 701191"/>
              <a:gd name="connsiteX4" fmla="*/ 268926 w 2317410"/>
              <a:gd name="connsiteY4" fmla="*/ 400390 h 701191"/>
              <a:gd name="connsiteX5" fmla="*/ 326277 w 2317410"/>
              <a:gd name="connsiteY5" fmla="*/ 235708 h 701191"/>
              <a:gd name="connsiteX6" fmla="*/ 244191 w 2317410"/>
              <a:gd name="connsiteY6" fmla="*/ 0 h 701191"/>
              <a:gd name="connsiteX7" fmla="*/ 383268 w 2317410"/>
              <a:gd name="connsiteY7" fmla="*/ 0 h 701191"/>
              <a:gd name="connsiteX8" fmla="*/ 465354 w 2317410"/>
              <a:gd name="connsiteY8" fmla="*/ 235708 h 701191"/>
              <a:gd name="connsiteX9" fmla="*/ 408003 w 2317410"/>
              <a:gd name="connsiteY9" fmla="*/ 400390 h 701191"/>
              <a:gd name="connsiteX10" fmla="*/ 502608 w 2317410"/>
              <a:gd name="connsiteY10" fmla="*/ 400390 h 701191"/>
              <a:gd name="connsiteX11" fmla="*/ 559959 w 2317410"/>
              <a:gd name="connsiteY11" fmla="*/ 235708 h 701191"/>
              <a:gd name="connsiteX12" fmla="*/ 477873 w 2317410"/>
              <a:gd name="connsiteY12" fmla="*/ 0 h 701191"/>
              <a:gd name="connsiteX13" fmla="*/ 1767146 w 2317410"/>
              <a:gd name="connsiteY13" fmla="*/ 0 h 701191"/>
              <a:gd name="connsiteX14" fmla="*/ 1849232 w 2317410"/>
              <a:gd name="connsiteY14" fmla="*/ 235708 h 701191"/>
              <a:gd name="connsiteX15" fmla="*/ 1791881 w 2317410"/>
              <a:gd name="connsiteY15" fmla="*/ 400390 h 701191"/>
              <a:gd name="connsiteX16" fmla="*/ 1886486 w 2317410"/>
              <a:gd name="connsiteY16" fmla="*/ 400390 h 701191"/>
              <a:gd name="connsiteX17" fmla="*/ 1943837 w 2317410"/>
              <a:gd name="connsiteY17" fmla="*/ 235708 h 701191"/>
              <a:gd name="connsiteX18" fmla="*/ 1861751 w 2317410"/>
              <a:gd name="connsiteY18" fmla="*/ 0 h 701191"/>
              <a:gd name="connsiteX19" fmla="*/ 2000828 w 2317410"/>
              <a:gd name="connsiteY19" fmla="*/ 0 h 701191"/>
              <a:gd name="connsiteX20" fmla="*/ 2082914 w 2317410"/>
              <a:gd name="connsiteY20" fmla="*/ 235708 h 701191"/>
              <a:gd name="connsiteX21" fmla="*/ 2025563 w 2317410"/>
              <a:gd name="connsiteY21" fmla="*/ 400390 h 701191"/>
              <a:gd name="connsiteX22" fmla="*/ 2120168 w 2317410"/>
              <a:gd name="connsiteY22" fmla="*/ 400390 h 701191"/>
              <a:gd name="connsiteX23" fmla="*/ 2177519 w 2317410"/>
              <a:gd name="connsiteY23" fmla="*/ 235708 h 701191"/>
              <a:gd name="connsiteX24" fmla="*/ 2095433 w 2317410"/>
              <a:gd name="connsiteY24" fmla="*/ 0 h 701191"/>
              <a:gd name="connsiteX25" fmla="*/ 2234510 w 2317410"/>
              <a:gd name="connsiteY25" fmla="*/ 0 h 701191"/>
              <a:gd name="connsiteX26" fmla="*/ 2316596 w 2317410"/>
              <a:gd name="connsiteY26" fmla="*/ 235708 h 701191"/>
              <a:gd name="connsiteX27" fmla="*/ 2259245 w 2317410"/>
              <a:gd name="connsiteY27" fmla="*/ 400390 h 701191"/>
              <a:gd name="connsiteX28" fmla="*/ 2317410 w 2317410"/>
              <a:gd name="connsiteY28" fmla="*/ 400390 h 701191"/>
              <a:gd name="connsiteX29" fmla="*/ 2317410 w 2317410"/>
              <a:gd name="connsiteY29" fmla="*/ 701191 h 701191"/>
              <a:gd name="connsiteX30" fmla="*/ 0 w 2317410"/>
              <a:gd name="connsiteY30" fmla="*/ 701191 h 701191"/>
              <a:gd name="connsiteX31" fmla="*/ 0 w 2317410"/>
              <a:gd name="connsiteY31" fmla="*/ 400390 h 701191"/>
              <a:gd name="connsiteX32" fmla="*/ 35244 w 2317410"/>
              <a:gd name="connsiteY32" fmla="*/ 400390 h 701191"/>
              <a:gd name="connsiteX33" fmla="*/ 92595 w 2317410"/>
              <a:gd name="connsiteY33" fmla="*/ 235708 h 701191"/>
              <a:gd name="connsiteX0" fmla="*/ 10509 w 2317410"/>
              <a:gd name="connsiteY0" fmla="*/ 0 h 701191"/>
              <a:gd name="connsiteX1" fmla="*/ 149586 w 2317410"/>
              <a:gd name="connsiteY1" fmla="*/ 0 h 701191"/>
              <a:gd name="connsiteX2" fmla="*/ 231672 w 2317410"/>
              <a:gd name="connsiteY2" fmla="*/ 235708 h 701191"/>
              <a:gd name="connsiteX3" fmla="*/ 174321 w 2317410"/>
              <a:gd name="connsiteY3" fmla="*/ 400390 h 701191"/>
              <a:gd name="connsiteX4" fmla="*/ 268926 w 2317410"/>
              <a:gd name="connsiteY4" fmla="*/ 400390 h 701191"/>
              <a:gd name="connsiteX5" fmla="*/ 326277 w 2317410"/>
              <a:gd name="connsiteY5" fmla="*/ 235708 h 701191"/>
              <a:gd name="connsiteX6" fmla="*/ 244191 w 2317410"/>
              <a:gd name="connsiteY6" fmla="*/ 0 h 701191"/>
              <a:gd name="connsiteX7" fmla="*/ 383268 w 2317410"/>
              <a:gd name="connsiteY7" fmla="*/ 0 h 701191"/>
              <a:gd name="connsiteX8" fmla="*/ 465354 w 2317410"/>
              <a:gd name="connsiteY8" fmla="*/ 235708 h 701191"/>
              <a:gd name="connsiteX9" fmla="*/ 408003 w 2317410"/>
              <a:gd name="connsiteY9" fmla="*/ 400390 h 701191"/>
              <a:gd name="connsiteX10" fmla="*/ 502608 w 2317410"/>
              <a:gd name="connsiteY10" fmla="*/ 400390 h 701191"/>
              <a:gd name="connsiteX11" fmla="*/ 559959 w 2317410"/>
              <a:gd name="connsiteY11" fmla="*/ 235708 h 701191"/>
              <a:gd name="connsiteX12" fmla="*/ 477873 w 2317410"/>
              <a:gd name="connsiteY12" fmla="*/ 0 h 701191"/>
              <a:gd name="connsiteX13" fmla="*/ 1767146 w 2317410"/>
              <a:gd name="connsiteY13" fmla="*/ 0 h 701191"/>
              <a:gd name="connsiteX14" fmla="*/ 1849232 w 2317410"/>
              <a:gd name="connsiteY14" fmla="*/ 235708 h 701191"/>
              <a:gd name="connsiteX15" fmla="*/ 1791881 w 2317410"/>
              <a:gd name="connsiteY15" fmla="*/ 400390 h 701191"/>
              <a:gd name="connsiteX16" fmla="*/ 1886486 w 2317410"/>
              <a:gd name="connsiteY16" fmla="*/ 400390 h 701191"/>
              <a:gd name="connsiteX17" fmla="*/ 1943837 w 2317410"/>
              <a:gd name="connsiteY17" fmla="*/ 235708 h 701191"/>
              <a:gd name="connsiteX18" fmla="*/ 1861751 w 2317410"/>
              <a:gd name="connsiteY18" fmla="*/ 0 h 701191"/>
              <a:gd name="connsiteX19" fmla="*/ 2000828 w 2317410"/>
              <a:gd name="connsiteY19" fmla="*/ 0 h 701191"/>
              <a:gd name="connsiteX20" fmla="*/ 2082914 w 2317410"/>
              <a:gd name="connsiteY20" fmla="*/ 235708 h 701191"/>
              <a:gd name="connsiteX21" fmla="*/ 2025563 w 2317410"/>
              <a:gd name="connsiteY21" fmla="*/ 400390 h 701191"/>
              <a:gd name="connsiteX22" fmla="*/ 2120168 w 2317410"/>
              <a:gd name="connsiteY22" fmla="*/ 400390 h 701191"/>
              <a:gd name="connsiteX23" fmla="*/ 2177519 w 2317410"/>
              <a:gd name="connsiteY23" fmla="*/ 235708 h 701191"/>
              <a:gd name="connsiteX24" fmla="*/ 2095433 w 2317410"/>
              <a:gd name="connsiteY24" fmla="*/ 0 h 701191"/>
              <a:gd name="connsiteX25" fmla="*/ 2234510 w 2317410"/>
              <a:gd name="connsiteY25" fmla="*/ 0 h 701191"/>
              <a:gd name="connsiteX26" fmla="*/ 2316596 w 2317410"/>
              <a:gd name="connsiteY26" fmla="*/ 235708 h 701191"/>
              <a:gd name="connsiteX27" fmla="*/ 2259245 w 2317410"/>
              <a:gd name="connsiteY27" fmla="*/ 400390 h 701191"/>
              <a:gd name="connsiteX28" fmla="*/ 2317410 w 2317410"/>
              <a:gd name="connsiteY28" fmla="*/ 400390 h 701191"/>
              <a:gd name="connsiteX29" fmla="*/ 2317410 w 2317410"/>
              <a:gd name="connsiteY29" fmla="*/ 701191 h 701191"/>
              <a:gd name="connsiteX30" fmla="*/ 0 w 2317410"/>
              <a:gd name="connsiteY30" fmla="*/ 400390 h 701191"/>
              <a:gd name="connsiteX31" fmla="*/ 35244 w 2317410"/>
              <a:gd name="connsiteY31" fmla="*/ 400390 h 701191"/>
              <a:gd name="connsiteX32" fmla="*/ 92595 w 2317410"/>
              <a:gd name="connsiteY32" fmla="*/ 235708 h 701191"/>
              <a:gd name="connsiteX33" fmla="*/ 10509 w 2317410"/>
              <a:gd name="connsiteY33" fmla="*/ 0 h 701191"/>
              <a:gd name="connsiteX0" fmla="*/ 10509 w 2317410"/>
              <a:gd name="connsiteY0" fmla="*/ 0 h 400390"/>
              <a:gd name="connsiteX1" fmla="*/ 149586 w 2317410"/>
              <a:gd name="connsiteY1" fmla="*/ 0 h 400390"/>
              <a:gd name="connsiteX2" fmla="*/ 231672 w 2317410"/>
              <a:gd name="connsiteY2" fmla="*/ 235708 h 400390"/>
              <a:gd name="connsiteX3" fmla="*/ 174321 w 2317410"/>
              <a:gd name="connsiteY3" fmla="*/ 400390 h 400390"/>
              <a:gd name="connsiteX4" fmla="*/ 268926 w 2317410"/>
              <a:gd name="connsiteY4" fmla="*/ 400390 h 400390"/>
              <a:gd name="connsiteX5" fmla="*/ 326277 w 2317410"/>
              <a:gd name="connsiteY5" fmla="*/ 235708 h 400390"/>
              <a:gd name="connsiteX6" fmla="*/ 244191 w 2317410"/>
              <a:gd name="connsiteY6" fmla="*/ 0 h 400390"/>
              <a:gd name="connsiteX7" fmla="*/ 383268 w 2317410"/>
              <a:gd name="connsiteY7" fmla="*/ 0 h 400390"/>
              <a:gd name="connsiteX8" fmla="*/ 465354 w 2317410"/>
              <a:gd name="connsiteY8" fmla="*/ 235708 h 400390"/>
              <a:gd name="connsiteX9" fmla="*/ 408003 w 2317410"/>
              <a:gd name="connsiteY9" fmla="*/ 400390 h 400390"/>
              <a:gd name="connsiteX10" fmla="*/ 502608 w 2317410"/>
              <a:gd name="connsiteY10" fmla="*/ 400390 h 400390"/>
              <a:gd name="connsiteX11" fmla="*/ 559959 w 2317410"/>
              <a:gd name="connsiteY11" fmla="*/ 235708 h 400390"/>
              <a:gd name="connsiteX12" fmla="*/ 477873 w 2317410"/>
              <a:gd name="connsiteY12" fmla="*/ 0 h 400390"/>
              <a:gd name="connsiteX13" fmla="*/ 1767146 w 2317410"/>
              <a:gd name="connsiteY13" fmla="*/ 0 h 400390"/>
              <a:gd name="connsiteX14" fmla="*/ 1849232 w 2317410"/>
              <a:gd name="connsiteY14" fmla="*/ 235708 h 400390"/>
              <a:gd name="connsiteX15" fmla="*/ 1791881 w 2317410"/>
              <a:gd name="connsiteY15" fmla="*/ 400390 h 400390"/>
              <a:gd name="connsiteX16" fmla="*/ 1886486 w 2317410"/>
              <a:gd name="connsiteY16" fmla="*/ 400390 h 400390"/>
              <a:gd name="connsiteX17" fmla="*/ 1943837 w 2317410"/>
              <a:gd name="connsiteY17" fmla="*/ 235708 h 400390"/>
              <a:gd name="connsiteX18" fmla="*/ 1861751 w 2317410"/>
              <a:gd name="connsiteY18" fmla="*/ 0 h 400390"/>
              <a:gd name="connsiteX19" fmla="*/ 2000828 w 2317410"/>
              <a:gd name="connsiteY19" fmla="*/ 0 h 400390"/>
              <a:gd name="connsiteX20" fmla="*/ 2082914 w 2317410"/>
              <a:gd name="connsiteY20" fmla="*/ 235708 h 400390"/>
              <a:gd name="connsiteX21" fmla="*/ 2025563 w 2317410"/>
              <a:gd name="connsiteY21" fmla="*/ 400390 h 400390"/>
              <a:gd name="connsiteX22" fmla="*/ 2120168 w 2317410"/>
              <a:gd name="connsiteY22" fmla="*/ 400390 h 400390"/>
              <a:gd name="connsiteX23" fmla="*/ 2177519 w 2317410"/>
              <a:gd name="connsiteY23" fmla="*/ 235708 h 400390"/>
              <a:gd name="connsiteX24" fmla="*/ 2095433 w 2317410"/>
              <a:gd name="connsiteY24" fmla="*/ 0 h 400390"/>
              <a:gd name="connsiteX25" fmla="*/ 2234510 w 2317410"/>
              <a:gd name="connsiteY25" fmla="*/ 0 h 400390"/>
              <a:gd name="connsiteX26" fmla="*/ 2316596 w 2317410"/>
              <a:gd name="connsiteY26" fmla="*/ 235708 h 400390"/>
              <a:gd name="connsiteX27" fmla="*/ 2259245 w 2317410"/>
              <a:gd name="connsiteY27" fmla="*/ 400390 h 400390"/>
              <a:gd name="connsiteX28" fmla="*/ 2317410 w 2317410"/>
              <a:gd name="connsiteY28" fmla="*/ 400390 h 400390"/>
              <a:gd name="connsiteX29" fmla="*/ 0 w 2317410"/>
              <a:gd name="connsiteY29" fmla="*/ 400390 h 400390"/>
              <a:gd name="connsiteX30" fmla="*/ 35244 w 2317410"/>
              <a:gd name="connsiteY30" fmla="*/ 400390 h 400390"/>
              <a:gd name="connsiteX31" fmla="*/ 92595 w 2317410"/>
              <a:gd name="connsiteY31" fmla="*/ 235708 h 400390"/>
              <a:gd name="connsiteX32" fmla="*/ 10509 w 2317410"/>
              <a:gd name="connsiteY32" fmla="*/ 0 h 4003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2317410" h="400390">
                <a:moveTo>
                  <a:pt x="10509" y="0"/>
                </a:moveTo>
                <a:lnTo>
                  <a:pt x="149586" y="0"/>
                </a:lnTo>
                <a:lnTo>
                  <a:pt x="231672" y="235708"/>
                </a:lnTo>
                <a:lnTo>
                  <a:pt x="174321" y="400390"/>
                </a:lnTo>
                <a:lnTo>
                  <a:pt x="268926" y="400390"/>
                </a:lnTo>
                <a:lnTo>
                  <a:pt x="326277" y="235708"/>
                </a:lnTo>
                <a:lnTo>
                  <a:pt x="244191" y="0"/>
                </a:lnTo>
                <a:lnTo>
                  <a:pt x="383268" y="0"/>
                </a:lnTo>
                <a:lnTo>
                  <a:pt x="465354" y="235708"/>
                </a:lnTo>
                <a:lnTo>
                  <a:pt x="408003" y="400390"/>
                </a:lnTo>
                <a:lnTo>
                  <a:pt x="502608" y="400390"/>
                </a:lnTo>
                <a:lnTo>
                  <a:pt x="559959" y="235708"/>
                </a:lnTo>
                <a:lnTo>
                  <a:pt x="477873" y="0"/>
                </a:lnTo>
                <a:lnTo>
                  <a:pt x="1767146" y="0"/>
                </a:lnTo>
                <a:lnTo>
                  <a:pt x="1849232" y="235708"/>
                </a:lnTo>
                <a:lnTo>
                  <a:pt x="1791881" y="400390"/>
                </a:lnTo>
                <a:lnTo>
                  <a:pt x="1886486" y="400390"/>
                </a:lnTo>
                <a:lnTo>
                  <a:pt x="1943837" y="235708"/>
                </a:lnTo>
                <a:lnTo>
                  <a:pt x="1861751" y="0"/>
                </a:lnTo>
                <a:lnTo>
                  <a:pt x="2000828" y="0"/>
                </a:lnTo>
                <a:lnTo>
                  <a:pt x="2082914" y="235708"/>
                </a:lnTo>
                <a:lnTo>
                  <a:pt x="2025563" y="400390"/>
                </a:lnTo>
                <a:lnTo>
                  <a:pt x="2120168" y="400390"/>
                </a:lnTo>
                <a:lnTo>
                  <a:pt x="2177519" y="235708"/>
                </a:lnTo>
                <a:lnTo>
                  <a:pt x="2095433" y="0"/>
                </a:lnTo>
                <a:lnTo>
                  <a:pt x="2234510" y="0"/>
                </a:lnTo>
                <a:lnTo>
                  <a:pt x="2316596" y="235708"/>
                </a:lnTo>
                <a:lnTo>
                  <a:pt x="2259245" y="400390"/>
                </a:lnTo>
                <a:lnTo>
                  <a:pt x="2317410" y="400390"/>
                </a:lnTo>
                <a:lnTo>
                  <a:pt x="0" y="400390"/>
                </a:lnTo>
                <a:lnTo>
                  <a:pt x="35244" y="400390"/>
                </a:lnTo>
                <a:lnTo>
                  <a:pt x="92595" y="235708"/>
                </a:lnTo>
                <a:lnTo>
                  <a:pt x="10509" y="0"/>
                </a:lnTo>
                <a:close/>
              </a:path>
            </a:pathLst>
          </a:custGeom>
          <a:gradFill>
            <a:gsLst>
              <a:gs pos="77881">
                <a:schemeClr val="accent4"/>
              </a:gs>
              <a:gs pos="27000">
                <a:schemeClr val="accent3"/>
              </a:gs>
              <a:gs pos="0">
                <a:schemeClr val="bg1">
                  <a:alpha val="78000"/>
                </a:schemeClr>
              </a:gs>
              <a:gs pos="100000">
                <a:schemeClr val="bg1">
                  <a:alpha val="80000"/>
                </a:schemeClr>
              </a:gs>
            </a:gsLst>
            <a:lin ang="10800000" scaled="1"/>
          </a:gra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wrap="square" lIns="0" tIns="0" rIns="73462" bIns="110194" anchor="t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24" i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anose="020B0806030902050204" pitchFamily="34" charset="0"/>
              </a:rPr>
              <a:t>R  A  C  E</a:t>
            </a:r>
            <a:endParaRPr lang="en-GB" sz="1224" i="1" dirty="0" err="1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Impact" panose="020B0806030902050204" pitchFamily="34" charset="0"/>
            </a:endParaRPr>
          </a:p>
        </p:txBody>
      </p:sp>
      <p:sp>
        <p:nvSpPr>
          <p:cNvPr id="5" name="MSIPCM336c40be8c6ac7fce0eb858d" descr="{&quot;HashCode&quot;:-128289487,&quot;Placement&quot;:&quot;Footer&quot;,&quot;Top&quot;:522.0343,&quot;Left&quot;:0.0}"/>
          <p:cNvSpPr txBox="1"/>
          <p:nvPr userDrawn="1"/>
        </p:nvSpPr>
        <p:spPr>
          <a:xfrm>
            <a:off x="0" y="6629836"/>
            <a:ext cx="1986005" cy="228163"/>
          </a:xfrm>
          <a:prstGeom prst="rect">
            <a:avLst/>
          </a:prstGeom>
          <a:noFill/>
        </p:spPr>
        <p:txBody>
          <a:bodyPr vert="horz" wrap="none" t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US" sz="800" smtClean="0">
                <a:solidFill>
                  <a:srgbClr val="000000"/>
                </a:solidFill>
                <a:latin typeface="Calibri" panose="020F0502020204030204" pitchFamily="34" charset="0"/>
              </a:rPr>
              <a:t>Sensitivity: LNT Construction Internal Use</a:t>
            </a:r>
            <a:endParaRPr lang="en-US" sz="80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426269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  <p:sldLayoutId id="2147483673" r:id="rId5"/>
  </p:sldLayoutIdLst>
  <p:transition spd="med" advTm="5000">
    <p:random/>
  </p:transition>
  <p:timing>
    <p:tnLst>
      <p:par>
        <p:cTn id="1" dur="indefinite" restart="never" nodeType="tmRoot"/>
      </p:par>
    </p:tnLst>
  </p:timing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2041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28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28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28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28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28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8F23E1D-1325-4E6C-96CC-B6F3F693F54A}" type="datetimeFigureOut">
              <a:rPr lang="en-US" smtClean="0"/>
              <a:t>26-Apr-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527C45C-A44B-4609-80DF-2868C77EF0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MSIPCM63704f5c9484f51b8cb3e97e" descr="{&quot;HashCode&quot;:-128289487,&quot;Placement&quot;:&quot;Footer&quot;,&quot;Top&quot;:522.0343,&quot;Left&quot;:0.0}"/>
          <p:cNvSpPr txBox="1"/>
          <p:nvPr userDrawn="1"/>
        </p:nvSpPr>
        <p:spPr>
          <a:xfrm>
            <a:off x="0" y="6629836"/>
            <a:ext cx="1986005" cy="228163"/>
          </a:xfrm>
          <a:prstGeom prst="rect">
            <a:avLst/>
          </a:prstGeom>
          <a:noFill/>
        </p:spPr>
        <p:txBody>
          <a:bodyPr vert="horz" wrap="none" t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US" sz="800" smtClean="0">
                <a:solidFill>
                  <a:srgbClr val="000000"/>
                </a:solidFill>
                <a:latin typeface="Calibri" panose="020F0502020204030204" pitchFamily="34" charset="0"/>
              </a:rPr>
              <a:t>Sensitivity: LNT Construction Internal Use</a:t>
            </a:r>
            <a:endParaRPr lang="en-US" sz="80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973954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  <p:sldLayoutId id="2147483716" r:id="rId6"/>
    <p:sldLayoutId id="2147483717" r:id="rId7"/>
    <p:sldLayoutId id="2147483718" r:id="rId8"/>
    <p:sldLayoutId id="2147483719" r:id="rId9"/>
    <p:sldLayoutId id="2147483720" r:id="rId10"/>
    <p:sldLayoutId id="2147483721" r:id="rId11"/>
  </p:sldLayoutIdLst>
  <p:transition spd="med" advTm="5000">
    <p:random/>
  </p:transition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6462445"/>
            <a:ext cx="12192000" cy="395555"/>
          </a:xfrm>
          <a:prstGeom prst="rect">
            <a:avLst/>
          </a:prstGeom>
          <a:solidFill>
            <a:srgbClr val="EEEE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8" cstate="print">
            <a:clrChange>
              <a:clrFrom>
                <a:srgbClr val="FFFEFD"/>
              </a:clrFrom>
              <a:clrTo>
                <a:srgbClr val="FFFEFD">
                  <a:alpha val="0"/>
                </a:srgbClr>
              </a:clrTo>
            </a:clrChange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8386" y="6509947"/>
            <a:ext cx="1585806" cy="316254"/>
          </a:xfrm>
          <a:prstGeom prst="rect">
            <a:avLst/>
          </a:prstGeom>
        </p:spPr>
      </p:pic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209258" y="6549703"/>
            <a:ext cx="1986673" cy="365125"/>
          </a:xfrm>
          <a:prstGeom prst="rect">
            <a:avLst/>
          </a:prstGeom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endParaRPr lang="en-IN" dirty="0">
              <a:solidFill>
                <a:prstClr val="black"/>
              </a:solidFill>
            </a:endParaRPr>
          </a:p>
        </p:txBody>
      </p:sp>
      <p:sp>
        <p:nvSpPr>
          <p:cNvPr id="3" name="MSIPCM41bc4b208ea87f2205f2bdcd" descr="{&quot;HashCode&quot;:-128289487,&quot;Placement&quot;:&quot;Footer&quot;,&quot;Top&quot;:522.0343,&quot;Left&quot;:0.0}"/>
          <p:cNvSpPr txBox="1"/>
          <p:nvPr userDrawn="1"/>
        </p:nvSpPr>
        <p:spPr>
          <a:xfrm>
            <a:off x="0" y="6629836"/>
            <a:ext cx="1986005" cy="228163"/>
          </a:xfrm>
          <a:prstGeom prst="rect">
            <a:avLst/>
          </a:prstGeom>
          <a:noFill/>
        </p:spPr>
        <p:txBody>
          <a:bodyPr vert="horz" wrap="none" tIns="0" bIns="0" rtlCol="0" anchor="ctr" anchorCtr="1">
            <a:spAutoFit/>
          </a:bodyPr>
          <a:lstStyle/>
          <a:p>
            <a:r>
              <a:rPr lang="en-US" sz="800" smtClean="0">
                <a:solidFill>
                  <a:srgbClr val="000000"/>
                </a:solidFill>
              </a:rPr>
              <a:t>Sensitivity: LNT Construction Internal Use</a:t>
            </a:r>
            <a:endParaRPr lang="en-ZW" sz="8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73709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26" r:id="rId3"/>
    <p:sldLayoutId id="2147483727" r:id="rId4"/>
    <p:sldLayoutId id="2147483697" r:id="rId5"/>
    <p:sldLayoutId id="2147483709" r:id="rId6"/>
  </p:sldLayoutIdLst>
  <p:transition spd="med" advTm="5000">
    <p:random/>
  </p:transition>
  <p:timing>
    <p:tnLst>
      <p:par>
        <p:cTn id="1" dur="indefinite" restart="never" nodeType="tmRoot"/>
      </p:par>
    </p:tnLst>
  </p:timing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6462445"/>
            <a:ext cx="12192000" cy="395555"/>
          </a:xfrm>
          <a:prstGeom prst="rect">
            <a:avLst/>
          </a:prstGeom>
          <a:solidFill>
            <a:srgbClr val="EEEE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print">
            <a:clrChange>
              <a:clrFrom>
                <a:srgbClr val="FFFEFD"/>
              </a:clrFrom>
              <a:clrTo>
                <a:srgbClr val="FFFEFD">
                  <a:alpha val="0"/>
                </a:srgbClr>
              </a:clrTo>
            </a:clrChange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8386" y="6509947"/>
            <a:ext cx="1585806" cy="316254"/>
          </a:xfrm>
          <a:prstGeom prst="rect">
            <a:avLst/>
          </a:prstGeom>
        </p:spPr>
      </p:pic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209258" y="6549703"/>
            <a:ext cx="1986673" cy="365125"/>
          </a:xfrm>
          <a:prstGeom prst="rect">
            <a:avLst/>
          </a:prstGeom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endParaRPr lang="en-IN" dirty="0">
              <a:solidFill>
                <a:prstClr val="black"/>
              </a:solidFill>
            </a:endParaRPr>
          </a:p>
        </p:txBody>
      </p:sp>
      <p:sp>
        <p:nvSpPr>
          <p:cNvPr id="3" name="MSIPCM41bc4b208ea87f2205f2bdcd" descr="{&quot;HashCode&quot;:-128289487,&quot;Placement&quot;:&quot;Footer&quot;,&quot;Top&quot;:522.0343,&quot;Left&quot;:0.0}"/>
          <p:cNvSpPr txBox="1"/>
          <p:nvPr userDrawn="1"/>
        </p:nvSpPr>
        <p:spPr>
          <a:xfrm>
            <a:off x="0" y="6629836"/>
            <a:ext cx="1986005" cy="228163"/>
          </a:xfrm>
          <a:prstGeom prst="rect">
            <a:avLst/>
          </a:prstGeom>
          <a:noFill/>
        </p:spPr>
        <p:txBody>
          <a:bodyPr vert="horz" wrap="none" tIns="0" bIns="0" rtlCol="0" anchor="ctr" anchorCtr="1">
            <a:spAutoFit/>
          </a:bodyPr>
          <a:lstStyle/>
          <a:p>
            <a:r>
              <a:rPr lang="en-US" sz="800" smtClean="0">
                <a:solidFill>
                  <a:srgbClr val="000000"/>
                </a:solidFill>
              </a:rPr>
              <a:t>Sensitivity: LNT Construction Internal Use</a:t>
            </a:r>
            <a:endParaRPr lang="en-ZW" sz="8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77455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</p:sldLayoutIdLst>
  <p:transition spd="med" advTm="5000">
    <p:random/>
  </p:transition>
  <p:timing>
    <p:tnLst>
      <p:par>
        <p:cTn id="1" dur="indefinite" restart="never" nodeType="tmRoot"/>
      </p:par>
    </p:tnLst>
  </p:timing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6462445"/>
            <a:ext cx="12192000" cy="395555"/>
          </a:xfrm>
          <a:prstGeom prst="rect">
            <a:avLst/>
          </a:prstGeom>
          <a:solidFill>
            <a:srgbClr val="EEEE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4" cstate="print">
            <a:clrChange>
              <a:clrFrom>
                <a:srgbClr val="FFFEFD"/>
              </a:clrFrom>
              <a:clrTo>
                <a:srgbClr val="FFFEFD">
                  <a:alpha val="0"/>
                </a:srgbClr>
              </a:clrTo>
            </a:clrChange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8386" y="6509947"/>
            <a:ext cx="1585806" cy="316254"/>
          </a:xfrm>
          <a:prstGeom prst="rect">
            <a:avLst/>
          </a:prstGeom>
        </p:spPr>
      </p:pic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209258" y="6549703"/>
            <a:ext cx="1986673" cy="365125"/>
          </a:xfrm>
          <a:prstGeom prst="rect">
            <a:avLst/>
          </a:prstGeom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endParaRPr lang="en-IN" dirty="0">
              <a:solidFill>
                <a:prstClr val="black"/>
              </a:solidFill>
            </a:endParaRPr>
          </a:p>
        </p:txBody>
      </p:sp>
      <p:sp>
        <p:nvSpPr>
          <p:cNvPr id="3" name="MSIPCM41bc4b208ea87f2205f2bdcd" descr="{&quot;HashCode&quot;:-128289487,&quot;Placement&quot;:&quot;Footer&quot;,&quot;Top&quot;:522.0343,&quot;Left&quot;:0.0}"/>
          <p:cNvSpPr txBox="1"/>
          <p:nvPr userDrawn="1"/>
        </p:nvSpPr>
        <p:spPr>
          <a:xfrm>
            <a:off x="0" y="6629836"/>
            <a:ext cx="1986005" cy="228163"/>
          </a:xfrm>
          <a:prstGeom prst="rect">
            <a:avLst/>
          </a:prstGeom>
          <a:noFill/>
        </p:spPr>
        <p:txBody>
          <a:bodyPr vert="horz" wrap="none" tIns="0" bIns="0" rtlCol="0" anchor="ctr" anchorCtr="1">
            <a:spAutoFit/>
          </a:bodyPr>
          <a:lstStyle/>
          <a:p>
            <a:r>
              <a:rPr lang="en-US" sz="800" smtClean="0">
                <a:solidFill>
                  <a:srgbClr val="000000"/>
                </a:solidFill>
              </a:rPr>
              <a:t>Sensitivity: LNT Construction Internal Use</a:t>
            </a:r>
            <a:endParaRPr lang="en-ZW" sz="8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93255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  <p:sldLayoutId id="2147483725" r:id="rId2"/>
  </p:sldLayoutIdLst>
  <p:transition spd="med" advTm="5000">
    <p:random/>
  </p:transition>
  <p:timing>
    <p:tnLst>
      <p:par>
        <p:cTn id="1" dur="indefinite" restart="never" nodeType="tmRoot"/>
      </p:par>
    </p:tnLst>
  </p:timing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8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2.png"/><Relationship Id="rId7" Type="http://schemas.openxmlformats.org/officeDocument/2006/relationships/image" Target="../media/image16.jp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15.jpg"/><Relationship Id="rId5" Type="http://schemas.openxmlformats.org/officeDocument/2006/relationships/image" Target="../media/image14.jpg"/><Relationship Id="rId10" Type="http://schemas.openxmlformats.org/officeDocument/2006/relationships/image" Target="../media/image19.jpeg"/><Relationship Id="rId4" Type="http://schemas.openxmlformats.org/officeDocument/2006/relationships/image" Target="../media/image13.png"/><Relationship Id="rId9" Type="http://schemas.openxmlformats.org/officeDocument/2006/relationships/image" Target="../media/image18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2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2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8077199" y="0"/>
            <a:ext cx="3875315" cy="664552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8856" y="3409109"/>
            <a:ext cx="6919230" cy="3236414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7245370" y="4591003"/>
            <a:ext cx="4312350" cy="52322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2800" dirty="0" smtClean="0"/>
              <a:t>Digital Initiatives </a:t>
            </a:r>
            <a:endParaRPr lang="en-US" sz="2800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8856" y="0"/>
            <a:ext cx="6919230" cy="3378705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7106763" y="1212298"/>
            <a:ext cx="4589564" cy="954107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2800" dirty="0" smtClean="0">
                <a:solidFill>
                  <a:srgbClr val="002060"/>
                </a:solidFill>
              </a:rPr>
              <a:t>Smart World &amp; Communication BU</a:t>
            </a:r>
            <a:endParaRPr lang="en-US" sz="28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1089927"/>
      </p:ext>
    </p:extLst>
  </p:cSld>
  <p:clrMapOvr>
    <a:masterClrMapping/>
  </p:clrMapOvr>
  <p:transition spd="med" advClick="0" advTm="5000">
    <p:random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/>
          <p:cNvSpPr/>
          <p:nvPr/>
        </p:nvSpPr>
        <p:spPr>
          <a:xfrm>
            <a:off x="183043" y="2097393"/>
            <a:ext cx="8506932" cy="34163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lnSpc>
                <a:spcPct val="150000"/>
              </a:lnSpc>
            </a:pPr>
            <a:r>
              <a:rPr lang="en-US" sz="2400" b="1" i="1" dirty="0" smtClean="0">
                <a:solidFill>
                  <a:schemeClr val="accent1">
                    <a:lumMod val="75000"/>
                  </a:schemeClr>
                </a:solidFill>
                <a:effectLst>
                  <a:glow rad="139700">
                    <a:schemeClr val="accent6">
                      <a:satMod val="175000"/>
                      <a:alpha val="40000"/>
                    </a:schemeClr>
                  </a:glow>
                </a:effectLst>
              </a:rPr>
              <a:t>GIS based Survey</a:t>
            </a:r>
            <a:endParaRPr lang="en-US" sz="2400" b="1" i="1" dirty="0">
              <a:solidFill>
                <a:schemeClr val="accent1">
                  <a:lumMod val="75000"/>
                </a:schemeClr>
              </a:solidFill>
              <a:effectLst>
                <a:glow rad="139700">
                  <a:schemeClr val="accent6">
                    <a:satMod val="175000"/>
                    <a:alpha val="40000"/>
                  </a:schemeClr>
                </a:glow>
              </a:effectLst>
            </a:endParaRPr>
          </a:p>
          <a:p>
            <a:pPr marL="285750" lvl="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 smtClean="0"/>
              <a:t>Complete digitizing of physical environment for better capture of information</a:t>
            </a:r>
          </a:p>
          <a:p>
            <a:pPr marL="285750" lvl="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 smtClean="0"/>
              <a:t>Asymmetric nature captured with minimal deviation for educated designing of practically inaccessible locations</a:t>
            </a:r>
          </a:p>
          <a:p>
            <a:pPr marL="285750" lvl="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2400" dirty="0" smtClean="0"/>
          </a:p>
        </p:txBody>
      </p:sp>
      <p:pic>
        <p:nvPicPr>
          <p:cNvPr id="23554" name="Picture 2" descr="http://lntswcdigital.com/img/small/8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49643" y="2490693"/>
            <a:ext cx="2093614" cy="2469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92000" cy="15052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490996"/>
      </p:ext>
    </p:extLst>
  </p:cSld>
  <p:clrMapOvr>
    <a:masterClrMapping/>
  </p:clrMapOvr>
  <p:transition spd="med" advTm="5000">
    <p:random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/>
          <p:cNvSpPr/>
          <p:nvPr/>
        </p:nvSpPr>
        <p:spPr>
          <a:xfrm>
            <a:off x="291900" y="1476907"/>
            <a:ext cx="8506932" cy="39703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lnSpc>
                <a:spcPct val="150000"/>
              </a:lnSpc>
            </a:pPr>
            <a:r>
              <a:rPr lang="en-US" sz="2400" b="1" i="1" dirty="0" smtClean="0">
                <a:solidFill>
                  <a:schemeClr val="accent1">
                    <a:lumMod val="75000"/>
                  </a:schemeClr>
                </a:solidFill>
                <a:effectLst>
                  <a:glow rad="139700">
                    <a:schemeClr val="accent6">
                      <a:satMod val="175000"/>
                      <a:alpha val="40000"/>
                    </a:schemeClr>
                  </a:glow>
                </a:effectLst>
              </a:rPr>
              <a:t>GPS Vehicle Tracking </a:t>
            </a:r>
            <a:endParaRPr lang="en-US" sz="2400" b="1" i="1" dirty="0">
              <a:solidFill>
                <a:schemeClr val="accent1">
                  <a:lumMod val="75000"/>
                </a:schemeClr>
              </a:solidFill>
              <a:effectLst>
                <a:glow rad="139700">
                  <a:schemeClr val="accent6">
                    <a:satMod val="175000"/>
                    <a:alpha val="40000"/>
                  </a:schemeClr>
                </a:glow>
              </a:effectLst>
            </a:endParaRPr>
          </a:p>
          <a:p>
            <a:pPr marL="285750" lvl="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 smtClean="0"/>
              <a:t>Paperless digital log books avoiding manual data entry</a:t>
            </a:r>
          </a:p>
          <a:p>
            <a:pPr marL="285750" lvl="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 smtClean="0"/>
              <a:t>Employee wise trip info available for optimization</a:t>
            </a:r>
          </a:p>
          <a:p>
            <a:pPr marL="285750" lvl="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 smtClean="0"/>
              <a:t>Mobile app for map based reports</a:t>
            </a:r>
          </a:p>
          <a:p>
            <a:pPr marL="285750" lvl="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 smtClean="0"/>
              <a:t>Visibility into over / underutilization leads to optimization of the usage.</a:t>
            </a:r>
          </a:p>
          <a:p>
            <a:pPr marL="285750" lvl="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 smtClean="0"/>
              <a:t>Potential of 10 to 15% of 70Lakh worth expenditure optimization</a:t>
            </a:r>
          </a:p>
        </p:txBody>
      </p:sp>
      <p:pic>
        <p:nvPicPr>
          <p:cNvPr id="16386" name="Picture 2" descr="http://lntswcdigital.com/image/tracking1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59941" y="2643371"/>
            <a:ext cx="2316344" cy="2316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92000" cy="15052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7137661"/>
      </p:ext>
    </p:extLst>
  </p:cSld>
  <p:clrMapOvr>
    <a:masterClrMapping/>
  </p:clrMapOvr>
  <p:transition spd="med" advTm="5000">
    <p:random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/>
          <p:cNvSpPr/>
          <p:nvPr/>
        </p:nvSpPr>
        <p:spPr>
          <a:xfrm>
            <a:off x="183043" y="2097393"/>
            <a:ext cx="8506932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lnSpc>
                <a:spcPct val="150000"/>
              </a:lnSpc>
            </a:pPr>
            <a:r>
              <a:rPr lang="en-US" sz="2400" b="1" i="1" dirty="0" smtClean="0">
                <a:solidFill>
                  <a:schemeClr val="accent1">
                    <a:lumMod val="75000"/>
                  </a:schemeClr>
                </a:solidFill>
                <a:effectLst>
                  <a:glow rad="139700">
                    <a:schemeClr val="accent6">
                      <a:satMod val="175000"/>
                      <a:alpha val="40000"/>
                    </a:schemeClr>
                  </a:glow>
                </a:effectLst>
              </a:rPr>
              <a:t>FB @ Work</a:t>
            </a:r>
            <a:endParaRPr lang="en-US" sz="2400" b="1" i="1" dirty="0">
              <a:solidFill>
                <a:schemeClr val="accent1">
                  <a:lumMod val="75000"/>
                </a:schemeClr>
              </a:solidFill>
              <a:effectLst>
                <a:glow rad="139700">
                  <a:schemeClr val="accent6">
                    <a:satMod val="175000"/>
                    <a:alpha val="40000"/>
                  </a:schemeClr>
                </a:glow>
              </a:effectLst>
            </a:endParaRPr>
          </a:p>
          <a:p>
            <a:pPr marL="285750" lvl="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 smtClean="0"/>
              <a:t>Engages employees based out at geographically disperse location</a:t>
            </a:r>
          </a:p>
          <a:p>
            <a:pPr marL="285750" lvl="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 smtClean="0"/>
              <a:t>Easy, fast and friendly mode of communication </a:t>
            </a:r>
          </a:p>
          <a:p>
            <a:pPr marL="285750" lvl="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 smtClean="0"/>
              <a:t>Best way of communicating to mass and returning the surveys </a:t>
            </a:r>
          </a:p>
        </p:txBody>
      </p:sp>
      <p:pic>
        <p:nvPicPr>
          <p:cNvPr id="18434" name="Picture 2" descr="http://lntswcdigital.com/image/facebook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64890" y="2938371"/>
            <a:ext cx="2381250" cy="2209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92000" cy="15052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6717582"/>
      </p:ext>
    </p:extLst>
  </p:cSld>
  <p:clrMapOvr>
    <a:masterClrMapping/>
  </p:clrMapOvr>
  <p:transition spd="med" advTm="5000">
    <p:random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/>
          <p:cNvSpPr/>
          <p:nvPr/>
        </p:nvSpPr>
        <p:spPr>
          <a:xfrm>
            <a:off x="183043" y="2097393"/>
            <a:ext cx="8506932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lnSpc>
                <a:spcPct val="150000"/>
              </a:lnSpc>
            </a:pPr>
            <a:r>
              <a:rPr lang="en-US" sz="2400" b="1" i="1" dirty="0" smtClean="0">
                <a:solidFill>
                  <a:schemeClr val="accent1">
                    <a:lumMod val="75000"/>
                  </a:schemeClr>
                </a:solidFill>
                <a:effectLst>
                  <a:glow rad="139700">
                    <a:schemeClr val="accent6">
                      <a:satMod val="175000"/>
                      <a:alpha val="40000"/>
                    </a:schemeClr>
                  </a:glow>
                </a:effectLst>
              </a:rPr>
              <a:t>SharePoint</a:t>
            </a:r>
            <a:endParaRPr lang="en-US" sz="2400" b="1" i="1" dirty="0">
              <a:solidFill>
                <a:schemeClr val="accent1">
                  <a:lumMod val="75000"/>
                </a:schemeClr>
              </a:solidFill>
              <a:effectLst>
                <a:glow rad="139700">
                  <a:schemeClr val="accent6">
                    <a:satMod val="175000"/>
                    <a:alpha val="40000"/>
                  </a:schemeClr>
                </a:glow>
              </a:effectLst>
            </a:endParaRPr>
          </a:p>
          <a:p>
            <a:pPr marL="285750" lvl="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 smtClean="0"/>
              <a:t>Central Repository of data authenticated by User Access</a:t>
            </a:r>
          </a:p>
          <a:p>
            <a:pPr marL="285750" lvl="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 smtClean="0"/>
              <a:t>Shareable Secured data available on cloud accessible on the go</a:t>
            </a:r>
          </a:p>
          <a:p>
            <a:pPr marL="285750" lvl="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 smtClean="0"/>
              <a:t>Centrally controlled data security</a:t>
            </a:r>
          </a:p>
        </p:txBody>
      </p:sp>
      <p:pic>
        <p:nvPicPr>
          <p:cNvPr id="19458" name="Picture 2" descr="http://lntswcdigital.com/image/SWC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62032" y="2231561"/>
            <a:ext cx="2259110" cy="20399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92000" cy="15052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2539089"/>
      </p:ext>
    </p:extLst>
  </p:cSld>
  <p:clrMapOvr>
    <a:masterClrMapping/>
  </p:clrMapOvr>
  <p:transition spd="med" advTm="5000">
    <p:random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/>
          <p:cNvSpPr/>
          <p:nvPr/>
        </p:nvSpPr>
        <p:spPr>
          <a:xfrm>
            <a:off x="183043" y="2097393"/>
            <a:ext cx="8506932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lnSpc>
                <a:spcPct val="150000"/>
              </a:lnSpc>
            </a:pPr>
            <a:r>
              <a:rPr lang="en-US" sz="2400" b="1" i="1" dirty="0" smtClean="0">
                <a:solidFill>
                  <a:schemeClr val="accent1">
                    <a:lumMod val="75000"/>
                  </a:schemeClr>
                </a:solidFill>
                <a:effectLst>
                  <a:glow rad="139700">
                    <a:schemeClr val="accent6">
                      <a:satMod val="175000"/>
                      <a:alpha val="40000"/>
                    </a:schemeClr>
                  </a:glow>
                </a:effectLst>
              </a:rPr>
              <a:t>Safe Arms</a:t>
            </a:r>
            <a:endParaRPr lang="en-US" sz="2400" b="1" i="1" dirty="0">
              <a:solidFill>
                <a:schemeClr val="accent1">
                  <a:lumMod val="75000"/>
                </a:schemeClr>
              </a:solidFill>
              <a:effectLst>
                <a:glow rad="139700">
                  <a:schemeClr val="accent6">
                    <a:satMod val="175000"/>
                    <a:alpha val="40000"/>
                  </a:schemeClr>
                </a:glow>
              </a:effectLst>
            </a:endParaRPr>
          </a:p>
          <a:p>
            <a:pPr marL="285750" lvl="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 smtClean="0"/>
              <a:t>Mobile app based EHS checklists filling and approval</a:t>
            </a:r>
          </a:p>
          <a:p>
            <a:pPr marL="285750" lvl="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 smtClean="0"/>
              <a:t>Proactive hazard and risk warnings to prevent incidents</a:t>
            </a:r>
          </a:p>
          <a:p>
            <a:pPr marL="285750" lvl="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 smtClean="0"/>
              <a:t>Central repository for EHS related documents  </a:t>
            </a:r>
          </a:p>
        </p:txBody>
      </p:sp>
      <p:pic>
        <p:nvPicPr>
          <p:cNvPr id="19460" name="Picture 4" descr="http://lntswcdigital.com/image/Safe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20753" y="2338328"/>
            <a:ext cx="2505075" cy="2276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92000" cy="15052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6857304"/>
      </p:ext>
    </p:extLst>
  </p:cSld>
  <p:clrMapOvr>
    <a:masterClrMapping/>
  </p:clrMapOvr>
  <p:transition spd="med" advTm="5000">
    <p:random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/>
          <p:cNvSpPr/>
          <p:nvPr/>
        </p:nvSpPr>
        <p:spPr>
          <a:xfrm>
            <a:off x="183043" y="2097393"/>
            <a:ext cx="8506932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lnSpc>
                <a:spcPct val="150000"/>
              </a:lnSpc>
            </a:pPr>
            <a:r>
              <a:rPr lang="en-US" sz="2400" b="1" i="1" dirty="0" smtClean="0">
                <a:solidFill>
                  <a:schemeClr val="accent1">
                    <a:lumMod val="75000"/>
                  </a:schemeClr>
                </a:solidFill>
                <a:effectLst>
                  <a:glow rad="139700">
                    <a:schemeClr val="accent6">
                      <a:satMod val="175000"/>
                      <a:alpha val="40000"/>
                    </a:schemeClr>
                  </a:glow>
                </a:effectLst>
              </a:rPr>
              <a:t>QIR (Quality Incident Reporting App)</a:t>
            </a:r>
            <a:endParaRPr lang="en-US" sz="2400" b="1" i="1" dirty="0">
              <a:solidFill>
                <a:schemeClr val="accent1">
                  <a:lumMod val="75000"/>
                </a:schemeClr>
              </a:solidFill>
              <a:effectLst>
                <a:glow rad="139700">
                  <a:schemeClr val="accent6">
                    <a:satMod val="175000"/>
                    <a:alpha val="40000"/>
                  </a:schemeClr>
                </a:glow>
              </a:effectLst>
            </a:endParaRPr>
          </a:p>
          <a:p>
            <a:pPr marL="285750" lvl="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 smtClean="0"/>
              <a:t>Quality violation observation tracking system</a:t>
            </a:r>
          </a:p>
          <a:p>
            <a:pPr marL="285750" lvl="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 smtClean="0"/>
              <a:t>Enhance quality standards </a:t>
            </a:r>
          </a:p>
          <a:p>
            <a:pPr marL="285750" lvl="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 smtClean="0"/>
              <a:t>Improves customer satisfaction by providing quality products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56915" y="2402746"/>
            <a:ext cx="2002971" cy="2002971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92000" cy="15052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6376575"/>
      </p:ext>
    </p:extLst>
  </p:cSld>
  <p:clrMapOvr>
    <a:masterClrMapping/>
  </p:clrMapOvr>
  <p:transition spd="med" advTm="5000">
    <p:random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/>
          <p:cNvSpPr/>
          <p:nvPr/>
        </p:nvSpPr>
        <p:spPr>
          <a:xfrm>
            <a:off x="193929" y="1999422"/>
            <a:ext cx="8699700" cy="34163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lnSpc>
                <a:spcPct val="150000"/>
              </a:lnSpc>
            </a:pPr>
            <a:r>
              <a:rPr lang="en-US" sz="2400" b="1" i="1" dirty="0" smtClean="0">
                <a:solidFill>
                  <a:schemeClr val="accent1">
                    <a:lumMod val="75000"/>
                  </a:schemeClr>
                </a:solidFill>
                <a:effectLst>
                  <a:glow rad="139700">
                    <a:schemeClr val="accent6">
                      <a:satMod val="175000"/>
                      <a:alpha val="40000"/>
                    </a:schemeClr>
                  </a:glow>
                </a:effectLst>
              </a:rPr>
              <a:t>Standard Solution Doc</a:t>
            </a:r>
            <a:endParaRPr lang="en-US" sz="2400" b="1" i="1" dirty="0">
              <a:solidFill>
                <a:schemeClr val="accent1">
                  <a:lumMod val="75000"/>
                </a:schemeClr>
              </a:solidFill>
              <a:effectLst>
                <a:glow rad="139700">
                  <a:schemeClr val="accent6">
                    <a:satMod val="175000"/>
                    <a:alpha val="40000"/>
                  </a:schemeClr>
                </a:glow>
              </a:effectLst>
            </a:endParaRPr>
          </a:p>
          <a:p>
            <a:pPr marL="285750" lvl="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 smtClean="0"/>
              <a:t>Standard template for solution proposal document for every project</a:t>
            </a:r>
          </a:p>
          <a:p>
            <a:pPr marL="285750" lvl="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 smtClean="0"/>
              <a:t>A User Guide for pre-bid team system architecture, OEM, application etc.</a:t>
            </a:r>
          </a:p>
          <a:p>
            <a:pPr marL="285750" lvl="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 smtClean="0"/>
              <a:t>A comprehensive self training system.</a:t>
            </a:r>
          </a:p>
        </p:txBody>
      </p:sp>
      <p:pic>
        <p:nvPicPr>
          <p:cNvPr id="24580" name="Picture 4" descr="http://lntswcdigital.com/image/Standard.png"/>
          <p:cNvPicPr>
            <a:picLocks noChangeAspect="1" noChangeArrowheads="1"/>
          </p:cNvPicPr>
          <p:nvPr/>
        </p:nvPicPr>
        <p:blipFill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79535" y="2759844"/>
            <a:ext cx="2276475" cy="18954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92000" cy="15052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3713703"/>
      </p:ext>
    </p:extLst>
  </p:cSld>
  <p:clrMapOvr>
    <a:masterClrMapping/>
  </p:clrMapOvr>
  <p:transition spd="med" advTm="5000">
    <p:random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Image result for thank you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38400" y="862885"/>
            <a:ext cx="9753600" cy="54959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07211065"/>
      </p:ext>
    </p:extLst>
  </p:cSld>
  <p:clrMapOvr>
    <a:masterClrMapping/>
  </p:clrMapOvr>
  <p:transition spd="med" advTm="5000">
    <p:random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9"/>
          <p:cNvSpPr txBox="1">
            <a:spLocks/>
          </p:cNvSpPr>
          <p:nvPr/>
        </p:nvSpPr>
        <p:spPr>
          <a:xfrm>
            <a:off x="963286" y="60778"/>
            <a:ext cx="10363200" cy="522803"/>
          </a:xfrm>
          <a:prstGeom prst="rect">
            <a:avLst/>
          </a:prstGeom>
        </p:spPr>
        <p:txBody>
          <a:bodyPr/>
          <a:lstStyle>
            <a:lvl1pPr algn="ctr" defTabSz="1219170" rtl="0" eaLnBrk="1" latinLnBrk="0" hangingPunct="1">
              <a:lnSpc>
                <a:spcPct val="86000"/>
              </a:lnSpc>
              <a:spcBef>
                <a:spcPct val="0"/>
              </a:spcBef>
              <a:buNone/>
              <a:defRPr sz="2800" kern="800" spc="-53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IN" b="1" u="sng" dirty="0"/>
              <a:t>Digital Initiatives in SWC BU </a:t>
            </a:r>
            <a:endParaRPr lang="en-US" u="sng" dirty="0"/>
          </a:p>
        </p:txBody>
      </p:sp>
      <p:sp>
        <p:nvSpPr>
          <p:cNvPr id="57" name="Arc 56"/>
          <p:cNvSpPr/>
          <p:nvPr/>
        </p:nvSpPr>
        <p:spPr>
          <a:xfrm>
            <a:off x="3401758" y="2333539"/>
            <a:ext cx="1579789" cy="1579791"/>
          </a:xfrm>
          <a:prstGeom prst="arc">
            <a:avLst>
              <a:gd name="adj1" fmla="val 7914138"/>
              <a:gd name="adj2" fmla="val 2868450"/>
            </a:avLst>
          </a:prstGeom>
          <a:ln w="88900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58" name="Arc 57"/>
          <p:cNvSpPr/>
          <p:nvPr/>
        </p:nvSpPr>
        <p:spPr>
          <a:xfrm rot="10800000">
            <a:off x="4473554" y="3497813"/>
            <a:ext cx="1579789" cy="1579791"/>
          </a:xfrm>
          <a:prstGeom prst="arc">
            <a:avLst>
              <a:gd name="adj1" fmla="val 7914138"/>
              <a:gd name="adj2" fmla="val 2868450"/>
            </a:avLst>
          </a:prstGeom>
          <a:ln w="88900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59" name="Arc 58"/>
          <p:cNvSpPr/>
          <p:nvPr/>
        </p:nvSpPr>
        <p:spPr>
          <a:xfrm rot="10800000">
            <a:off x="2333675" y="3497813"/>
            <a:ext cx="1579789" cy="1579791"/>
          </a:xfrm>
          <a:prstGeom prst="arc">
            <a:avLst>
              <a:gd name="adj1" fmla="val 7914138"/>
              <a:gd name="adj2" fmla="val 2868450"/>
            </a:avLst>
          </a:prstGeom>
          <a:ln w="88900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60" name="Arc 59"/>
          <p:cNvSpPr/>
          <p:nvPr/>
        </p:nvSpPr>
        <p:spPr>
          <a:xfrm>
            <a:off x="1263255" y="2333539"/>
            <a:ext cx="1579789" cy="1579791"/>
          </a:xfrm>
          <a:prstGeom prst="arc">
            <a:avLst>
              <a:gd name="adj1" fmla="val 7914138"/>
              <a:gd name="adj2" fmla="val 2868450"/>
            </a:avLst>
          </a:prstGeom>
          <a:ln w="88900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61" name="Arc 60"/>
          <p:cNvSpPr/>
          <p:nvPr/>
        </p:nvSpPr>
        <p:spPr>
          <a:xfrm>
            <a:off x="5540260" y="2333539"/>
            <a:ext cx="1579789" cy="1579791"/>
          </a:xfrm>
          <a:prstGeom prst="arc">
            <a:avLst>
              <a:gd name="adj1" fmla="val 7914138"/>
              <a:gd name="adj2" fmla="val 2868450"/>
            </a:avLst>
          </a:prstGeom>
          <a:ln w="88900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62" name="Rectangle 61"/>
          <p:cNvSpPr/>
          <p:nvPr/>
        </p:nvSpPr>
        <p:spPr>
          <a:xfrm>
            <a:off x="0" y="762310"/>
            <a:ext cx="2235200" cy="691984"/>
          </a:xfrm>
          <a:prstGeom prst="rect">
            <a:avLst/>
          </a:prstGeom>
        </p:spPr>
        <p:txBody>
          <a:bodyPr wrap="square" lIns="121920" rIns="121920" bIns="60960">
            <a:spAutoFit/>
          </a:bodyPr>
          <a:lstStyle/>
          <a:p>
            <a:pPr algn="r">
              <a:lnSpc>
                <a:spcPct val="89000"/>
              </a:lnSpc>
            </a:pPr>
            <a:r>
              <a:rPr lang="en-US" sz="2133" dirty="0"/>
              <a:t>Project </a:t>
            </a:r>
            <a:r>
              <a:rPr lang="en-US" sz="2133" dirty="0" smtClean="0"/>
              <a:t>Monitoring</a:t>
            </a:r>
            <a:endParaRPr lang="en-US" sz="2133" dirty="0"/>
          </a:p>
        </p:txBody>
      </p:sp>
      <p:cxnSp>
        <p:nvCxnSpPr>
          <p:cNvPr id="101" name="Straight Connector 100"/>
          <p:cNvCxnSpPr>
            <a:cxnSpLocks/>
          </p:cNvCxnSpPr>
          <p:nvPr/>
        </p:nvCxnSpPr>
        <p:spPr>
          <a:xfrm flipV="1">
            <a:off x="2080021" y="1556738"/>
            <a:ext cx="0" cy="793203"/>
          </a:xfrm>
          <a:prstGeom prst="line">
            <a:avLst/>
          </a:prstGeom>
          <a:ln w="12700" cmpd="sng">
            <a:headEnd type="none"/>
            <a:tailEnd type="oval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Connector 101"/>
          <p:cNvCxnSpPr>
            <a:cxnSpLocks/>
          </p:cNvCxnSpPr>
          <p:nvPr/>
        </p:nvCxnSpPr>
        <p:spPr>
          <a:xfrm flipV="1">
            <a:off x="6423036" y="1900942"/>
            <a:ext cx="0" cy="448999"/>
          </a:xfrm>
          <a:prstGeom prst="line">
            <a:avLst/>
          </a:prstGeom>
          <a:ln w="12700" cmpd="sng">
            <a:solidFill>
              <a:srgbClr val="21B169"/>
            </a:solidFill>
            <a:headEnd type="none"/>
            <a:tailEnd type="oval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3" name="Rectangle 102"/>
          <p:cNvSpPr/>
          <p:nvPr/>
        </p:nvSpPr>
        <p:spPr>
          <a:xfrm>
            <a:off x="5474502" y="849175"/>
            <a:ext cx="2703692" cy="691600"/>
          </a:xfrm>
          <a:prstGeom prst="rect">
            <a:avLst/>
          </a:prstGeom>
        </p:spPr>
        <p:txBody>
          <a:bodyPr wrap="square" lIns="121920" rIns="121920" bIns="60960">
            <a:spAutoFit/>
          </a:bodyPr>
          <a:lstStyle/>
          <a:p>
            <a:pPr>
              <a:lnSpc>
                <a:spcPct val="89000"/>
              </a:lnSpc>
            </a:pPr>
            <a:r>
              <a:rPr lang="en-US" sz="2130" dirty="0" smtClean="0"/>
              <a:t>SharePoint-Document Management</a:t>
            </a:r>
            <a:endParaRPr lang="en-US" sz="2133" dirty="0"/>
          </a:p>
        </p:txBody>
      </p:sp>
      <p:sp>
        <p:nvSpPr>
          <p:cNvPr id="104" name="Rectangle 103"/>
          <p:cNvSpPr/>
          <p:nvPr/>
        </p:nvSpPr>
        <p:spPr>
          <a:xfrm>
            <a:off x="3401757" y="5595913"/>
            <a:ext cx="2880889" cy="399853"/>
          </a:xfrm>
          <a:prstGeom prst="rect">
            <a:avLst/>
          </a:prstGeom>
        </p:spPr>
        <p:txBody>
          <a:bodyPr wrap="square" lIns="121920" rIns="121920" bIns="60960">
            <a:spAutoFit/>
          </a:bodyPr>
          <a:lstStyle/>
          <a:p>
            <a:pPr>
              <a:lnSpc>
                <a:spcPct val="89000"/>
              </a:lnSpc>
            </a:pPr>
            <a:r>
              <a:rPr lang="en-US" sz="2133" dirty="0"/>
              <a:t>GIS </a:t>
            </a:r>
            <a:r>
              <a:rPr lang="en-US" sz="2133" dirty="0" smtClean="0"/>
              <a:t>Application</a:t>
            </a:r>
          </a:p>
        </p:txBody>
      </p:sp>
      <p:sp>
        <p:nvSpPr>
          <p:cNvPr id="105" name="Rectangle 104"/>
          <p:cNvSpPr/>
          <p:nvPr/>
        </p:nvSpPr>
        <p:spPr>
          <a:xfrm>
            <a:off x="-149681" y="5011650"/>
            <a:ext cx="2293774" cy="1185068"/>
          </a:xfrm>
          <a:prstGeom prst="rect">
            <a:avLst/>
          </a:prstGeom>
        </p:spPr>
        <p:txBody>
          <a:bodyPr wrap="square" lIns="121920" rIns="121920" bIns="60960">
            <a:spAutoFit/>
          </a:bodyPr>
          <a:lstStyle/>
          <a:p>
            <a:pPr algn="r">
              <a:lnSpc>
                <a:spcPct val="89000"/>
              </a:lnSpc>
            </a:pPr>
            <a:r>
              <a:rPr lang="en-US" sz="2133" dirty="0"/>
              <a:t>Workforce Management </a:t>
            </a:r>
            <a:r>
              <a:rPr lang="en-US" sz="2133" dirty="0" smtClean="0"/>
              <a:t>System – </a:t>
            </a:r>
            <a:br>
              <a:rPr lang="en-US" sz="2133" dirty="0" smtClean="0"/>
            </a:br>
            <a:endParaRPr lang="en-US" sz="1467" dirty="0"/>
          </a:p>
        </p:txBody>
      </p:sp>
      <p:sp>
        <p:nvSpPr>
          <p:cNvPr id="106" name="Freeform 82"/>
          <p:cNvSpPr/>
          <p:nvPr/>
        </p:nvSpPr>
        <p:spPr>
          <a:xfrm flipH="1">
            <a:off x="4860029" y="5077604"/>
            <a:ext cx="450839" cy="518309"/>
          </a:xfrm>
          <a:custGeom>
            <a:avLst/>
            <a:gdLst>
              <a:gd name="connsiteX0" fmla="*/ 9167091 w 9167091"/>
              <a:gd name="connsiteY0" fmla="*/ 5137727 h 5149273"/>
              <a:gd name="connsiteX1" fmla="*/ 11546 w 9167091"/>
              <a:gd name="connsiteY1" fmla="*/ 5149273 h 5149273"/>
              <a:gd name="connsiteX2" fmla="*/ 0 w 9167091"/>
              <a:gd name="connsiteY2" fmla="*/ 0 h 51492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167091" h="5149273">
                <a:moveTo>
                  <a:pt x="9167091" y="5137727"/>
                </a:moveTo>
                <a:lnTo>
                  <a:pt x="11546" y="5149273"/>
                </a:lnTo>
                <a:cubicBezTo>
                  <a:pt x="7697" y="3432849"/>
                  <a:pt x="3849" y="1716424"/>
                  <a:pt x="0" y="0"/>
                </a:cubicBezTo>
              </a:path>
            </a:pathLst>
          </a:custGeom>
          <a:ln w="12700" cmpd="sng">
            <a:solidFill>
              <a:schemeClr val="accent6"/>
            </a:solidFill>
            <a:headEnd type="oval" w="lg" len="lg"/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107" name="Freeform 84"/>
          <p:cNvSpPr/>
          <p:nvPr/>
        </p:nvSpPr>
        <p:spPr>
          <a:xfrm flipH="1">
            <a:off x="2235200" y="5077605"/>
            <a:ext cx="891519" cy="565541"/>
          </a:xfrm>
          <a:custGeom>
            <a:avLst/>
            <a:gdLst>
              <a:gd name="connsiteX0" fmla="*/ 9167091 w 9167091"/>
              <a:gd name="connsiteY0" fmla="*/ 5137727 h 5149273"/>
              <a:gd name="connsiteX1" fmla="*/ 11546 w 9167091"/>
              <a:gd name="connsiteY1" fmla="*/ 5149273 h 5149273"/>
              <a:gd name="connsiteX2" fmla="*/ 0 w 9167091"/>
              <a:gd name="connsiteY2" fmla="*/ 0 h 51492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167091" h="5149273">
                <a:moveTo>
                  <a:pt x="9167091" y="5137727"/>
                </a:moveTo>
                <a:lnTo>
                  <a:pt x="11546" y="5149273"/>
                </a:lnTo>
                <a:cubicBezTo>
                  <a:pt x="7697" y="3432849"/>
                  <a:pt x="3849" y="1716424"/>
                  <a:pt x="0" y="0"/>
                </a:cubicBezTo>
              </a:path>
            </a:pathLst>
          </a:custGeom>
          <a:ln w="12700" cmpd="sng">
            <a:solidFill>
              <a:schemeClr val="accent3"/>
            </a:solidFill>
            <a:headEnd type="oval" w="lg" len="lg"/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108" name="Freeform 85"/>
          <p:cNvSpPr/>
          <p:nvPr/>
        </p:nvSpPr>
        <p:spPr>
          <a:xfrm flipH="1" flipV="1">
            <a:off x="4109447" y="1652271"/>
            <a:ext cx="100557" cy="681267"/>
          </a:xfrm>
          <a:custGeom>
            <a:avLst/>
            <a:gdLst>
              <a:gd name="connsiteX0" fmla="*/ 9167091 w 9167091"/>
              <a:gd name="connsiteY0" fmla="*/ 5137727 h 5149273"/>
              <a:gd name="connsiteX1" fmla="*/ 11546 w 9167091"/>
              <a:gd name="connsiteY1" fmla="*/ 5149273 h 5149273"/>
              <a:gd name="connsiteX2" fmla="*/ 0 w 9167091"/>
              <a:gd name="connsiteY2" fmla="*/ 0 h 51492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167091" h="5149273">
                <a:moveTo>
                  <a:pt x="9167091" y="5137727"/>
                </a:moveTo>
                <a:lnTo>
                  <a:pt x="11546" y="5149273"/>
                </a:lnTo>
                <a:cubicBezTo>
                  <a:pt x="7697" y="3432849"/>
                  <a:pt x="3849" y="1716424"/>
                  <a:pt x="0" y="0"/>
                </a:cubicBezTo>
              </a:path>
            </a:pathLst>
          </a:custGeom>
          <a:ln w="12700" cmpd="sng">
            <a:solidFill>
              <a:schemeClr val="accent5"/>
            </a:solidFill>
            <a:headEnd type="oval" w="lg" len="lg"/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109" name="Rectangle 108"/>
          <p:cNvSpPr/>
          <p:nvPr/>
        </p:nvSpPr>
        <p:spPr>
          <a:xfrm>
            <a:off x="3123569" y="797213"/>
            <a:ext cx="2443203" cy="1185068"/>
          </a:xfrm>
          <a:prstGeom prst="rect">
            <a:avLst/>
          </a:prstGeom>
        </p:spPr>
        <p:txBody>
          <a:bodyPr wrap="square" lIns="121920" rIns="121920" bIns="60960">
            <a:spAutoFit/>
          </a:bodyPr>
          <a:lstStyle/>
          <a:p>
            <a:pPr>
              <a:lnSpc>
                <a:spcPct val="89000"/>
              </a:lnSpc>
            </a:pPr>
            <a:r>
              <a:rPr lang="en-US" sz="2133" dirty="0"/>
              <a:t>Employee Engagement - (</a:t>
            </a:r>
            <a:r>
              <a:rPr lang="en-US" sz="2133" dirty="0" err="1"/>
              <a:t>FB@Work</a:t>
            </a:r>
            <a:r>
              <a:rPr lang="en-US" sz="2133" dirty="0"/>
              <a:t>)</a:t>
            </a:r>
            <a:br>
              <a:rPr lang="en-US" sz="2133" dirty="0"/>
            </a:br>
            <a:endParaRPr lang="en-US" sz="1467" dirty="0"/>
          </a:p>
        </p:txBody>
      </p:sp>
      <p:sp>
        <p:nvSpPr>
          <p:cNvPr id="110" name="Arc 109"/>
          <p:cNvSpPr/>
          <p:nvPr/>
        </p:nvSpPr>
        <p:spPr>
          <a:xfrm>
            <a:off x="7666488" y="2333539"/>
            <a:ext cx="1579789" cy="1579791"/>
          </a:xfrm>
          <a:prstGeom prst="arc">
            <a:avLst>
              <a:gd name="adj1" fmla="val 7914138"/>
              <a:gd name="adj2" fmla="val 2868450"/>
            </a:avLst>
          </a:prstGeom>
          <a:ln w="88900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111" name="Arc 110"/>
          <p:cNvSpPr/>
          <p:nvPr/>
        </p:nvSpPr>
        <p:spPr>
          <a:xfrm rot="10800000">
            <a:off x="8738284" y="3497813"/>
            <a:ext cx="1579789" cy="1579791"/>
          </a:xfrm>
          <a:prstGeom prst="arc">
            <a:avLst>
              <a:gd name="adj1" fmla="val 7914138"/>
              <a:gd name="adj2" fmla="val 2868450"/>
            </a:avLst>
          </a:prstGeom>
          <a:ln w="88900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112" name="Arc 111"/>
          <p:cNvSpPr/>
          <p:nvPr/>
        </p:nvSpPr>
        <p:spPr>
          <a:xfrm rot="10800000">
            <a:off x="6598405" y="3497813"/>
            <a:ext cx="1579789" cy="1579791"/>
          </a:xfrm>
          <a:prstGeom prst="arc">
            <a:avLst>
              <a:gd name="adj1" fmla="val 7914138"/>
              <a:gd name="adj2" fmla="val 2868450"/>
            </a:avLst>
          </a:prstGeom>
          <a:ln w="88900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136" name="Freeform 82"/>
          <p:cNvSpPr/>
          <p:nvPr/>
        </p:nvSpPr>
        <p:spPr>
          <a:xfrm>
            <a:off x="9512870" y="5077605"/>
            <a:ext cx="320108" cy="565541"/>
          </a:xfrm>
          <a:custGeom>
            <a:avLst/>
            <a:gdLst>
              <a:gd name="connsiteX0" fmla="*/ 9167091 w 9167091"/>
              <a:gd name="connsiteY0" fmla="*/ 5137727 h 5149273"/>
              <a:gd name="connsiteX1" fmla="*/ 11546 w 9167091"/>
              <a:gd name="connsiteY1" fmla="*/ 5149273 h 5149273"/>
              <a:gd name="connsiteX2" fmla="*/ 0 w 9167091"/>
              <a:gd name="connsiteY2" fmla="*/ 0 h 51492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167091" h="5149273">
                <a:moveTo>
                  <a:pt x="9167091" y="5137727"/>
                </a:moveTo>
                <a:lnTo>
                  <a:pt x="11546" y="5149273"/>
                </a:lnTo>
                <a:cubicBezTo>
                  <a:pt x="7697" y="3432849"/>
                  <a:pt x="3849" y="1716424"/>
                  <a:pt x="0" y="0"/>
                </a:cubicBezTo>
              </a:path>
            </a:pathLst>
          </a:custGeom>
          <a:ln w="12700" cmpd="sng">
            <a:solidFill>
              <a:schemeClr val="accent6"/>
            </a:solidFill>
            <a:headEnd type="oval" w="lg" len="lg"/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137" name="Freeform 84"/>
          <p:cNvSpPr/>
          <p:nvPr/>
        </p:nvSpPr>
        <p:spPr>
          <a:xfrm flipH="1">
            <a:off x="7276098" y="5077605"/>
            <a:ext cx="204522" cy="427465"/>
          </a:xfrm>
          <a:custGeom>
            <a:avLst/>
            <a:gdLst>
              <a:gd name="connsiteX0" fmla="*/ 9167091 w 9167091"/>
              <a:gd name="connsiteY0" fmla="*/ 5137727 h 5149273"/>
              <a:gd name="connsiteX1" fmla="*/ 11546 w 9167091"/>
              <a:gd name="connsiteY1" fmla="*/ 5149273 h 5149273"/>
              <a:gd name="connsiteX2" fmla="*/ 0 w 9167091"/>
              <a:gd name="connsiteY2" fmla="*/ 0 h 51492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167091" h="5149273">
                <a:moveTo>
                  <a:pt x="9167091" y="5137727"/>
                </a:moveTo>
                <a:lnTo>
                  <a:pt x="11546" y="5149273"/>
                </a:lnTo>
                <a:cubicBezTo>
                  <a:pt x="7697" y="3432849"/>
                  <a:pt x="3849" y="1716424"/>
                  <a:pt x="0" y="0"/>
                </a:cubicBezTo>
              </a:path>
            </a:pathLst>
          </a:custGeom>
          <a:ln w="12700" cmpd="sng">
            <a:solidFill>
              <a:schemeClr val="accent3"/>
            </a:solidFill>
            <a:headEnd type="oval" w="lg" len="lg"/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138" name="Rectangle 137"/>
          <p:cNvSpPr/>
          <p:nvPr/>
        </p:nvSpPr>
        <p:spPr>
          <a:xfrm>
            <a:off x="6282647" y="5643146"/>
            <a:ext cx="2235200" cy="691984"/>
          </a:xfrm>
          <a:prstGeom prst="rect">
            <a:avLst/>
          </a:prstGeom>
        </p:spPr>
        <p:txBody>
          <a:bodyPr wrap="square" lIns="121920" rIns="121920" bIns="60960">
            <a:spAutoFit/>
          </a:bodyPr>
          <a:lstStyle/>
          <a:p>
            <a:pPr>
              <a:lnSpc>
                <a:spcPct val="89000"/>
              </a:lnSpc>
            </a:pPr>
            <a:r>
              <a:rPr lang="en-US" sz="2133" dirty="0"/>
              <a:t>Vehicle Tracking </a:t>
            </a:r>
            <a:r>
              <a:rPr lang="en-US" sz="2133" dirty="0" smtClean="0"/>
              <a:t>System</a:t>
            </a:r>
            <a:endParaRPr lang="en-US" sz="1467" dirty="0"/>
          </a:p>
        </p:txBody>
      </p:sp>
      <p:sp>
        <p:nvSpPr>
          <p:cNvPr id="139" name="Rectangle 138"/>
          <p:cNvSpPr/>
          <p:nvPr/>
        </p:nvSpPr>
        <p:spPr>
          <a:xfrm>
            <a:off x="10317041" y="3893704"/>
            <a:ext cx="1783416" cy="691215"/>
          </a:xfrm>
          <a:prstGeom prst="rect">
            <a:avLst/>
          </a:prstGeom>
        </p:spPr>
        <p:txBody>
          <a:bodyPr wrap="square" lIns="121920" rIns="121920" bIns="60960">
            <a:spAutoFit/>
          </a:bodyPr>
          <a:lstStyle/>
          <a:p>
            <a:pPr>
              <a:lnSpc>
                <a:spcPct val="89000"/>
              </a:lnSpc>
            </a:pPr>
            <a:r>
              <a:rPr lang="en-US" sz="2130" dirty="0" smtClean="0"/>
              <a:t>Applications/apps</a:t>
            </a:r>
          </a:p>
        </p:txBody>
      </p:sp>
      <p:sp>
        <p:nvSpPr>
          <p:cNvPr id="140" name="Rectangle 139"/>
          <p:cNvSpPr/>
          <p:nvPr/>
        </p:nvSpPr>
        <p:spPr>
          <a:xfrm>
            <a:off x="9512870" y="5675530"/>
            <a:ext cx="2037711" cy="691215"/>
          </a:xfrm>
          <a:prstGeom prst="rect">
            <a:avLst/>
          </a:prstGeom>
        </p:spPr>
        <p:txBody>
          <a:bodyPr wrap="square" lIns="121920" rIns="121920" bIns="60960">
            <a:spAutoFit/>
          </a:bodyPr>
          <a:lstStyle/>
          <a:p>
            <a:pPr>
              <a:lnSpc>
                <a:spcPct val="89000"/>
              </a:lnSpc>
            </a:pPr>
            <a:r>
              <a:rPr lang="en-US" sz="2130" dirty="0"/>
              <a:t>Management </a:t>
            </a:r>
            <a:r>
              <a:rPr lang="en-US" sz="2130" dirty="0" smtClean="0"/>
              <a:t>Dashboards</a:t>
            </a:r>
            <a:endParaRPr lang="en-US" sz="2133" dirty="0"/>
          </a:p>
        </p:txBody>
      </p:sp>
      <p:sp>
        <p:nvSpPr>
          <p:cNvPr id="144" name="Freeform 85"/>
          <p:cNvSpPr/>
          <p:nvPr/>
        </p:nvSpPr>
        <p:spPr>
          <a:xfrm flipV="1">
            <a:off x="8394842" y="1693747"/>
            <a:ext cx="384643" cy="639791"/>
          </a:xfrm>
          <a:custGeom>
            <a:avLst/>
            <a:gdLst>
              <a:gd name="connsiteX0" fmla="*/ 9167091 w 9167091"/>
              <a:gd name="connsiteY0" fmla="*/ 5137727 h 5149273"/>
              <a:gd name="connsiteX1" fmla="*/ 11546 w 9167091"/>
              <a:gd name="connsiteY1" fmla="*/ 5149273 h 5149273"/>
              <a:gd name="connsiteX2" fmla="*/ 0 w 9167091"/>
              <a:gd name="connsiteY2" fmla="*/ 0 h 51492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167091" h="5149273">
                <a:moveTo>
                  <a:pt x="9167091" y="5137727"/>
                </a:moveTo>
                <a:lnTo>
                  <a:pt x="11546" y="5149273"/>
                </a:lnTo>
                <a:cubicBezTo>
                  <a:pt x="7697" y="3432849"/>
                  <a:pt x="3849" y="1716424"/>
                  <a:pt x="0" y="0"/>
                </a:cubicBezTo>
              </a:path>
            </a:pathLst>
          </a:custGeom>
          <a:ln w="12700" cmpd="sng">
            <a:solidFill>
              <a:schemeClr val="accent5"/>
            </a:solidFill>
            <a:headEnd type="oval" w="lg" len="lg"/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pic>
        <p:nvPicPr>
          <p:cNvPr id="9218" name="Picture 2" descr="Image result for project monitoring icon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33973" y="2675195"/>
            <a:ext cx="903093" cy="9030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20" name="Picture 4" descr="Image result for workforce management system icon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64526" y="3753521"/>
            <a:ext cx="1069622" cy="1064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2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2596" y="2606912"/>
            <a:ext cx="954563" cy="971376"/>
          </a:xfrm>
          <a:prstGeom prst="rect">
            <a:avLst/>
          </a:prstGeom>
          <a:solidFill>
            <a:schemeClr val="bg2">
              <a:lumMod val="50000"/>
              <a:alpha val="54902"/>
            </a:schemeClr>
          </a:solidFill>
          <a:ln>
            <a:noFill/>
          </a:ln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06011" y="3753521"/>
            <a:ext cx="908573" cy="980081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774229" y="2653620"/>
            <a:ext cx="1121262" cy="844193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13613" y="3767894"/>
            <a:ext cx="974959" cy="1050557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944435" y="2592529"/>
            <a:ext cx="1023350" cy="1023350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026262" y="3786309"/>
            <a:ext cx="1002801" cy="1002801"/>
          </a:xfrm>
          <a:prstGeom prst="rect">
            <a:avLst/>
          </a:prstGeom>
        </p:spPr>
      </p:pic>
      <p:sp>
        <p:nvSpPr>
          <p:cNvPr id="35" name="Arc 34"/>
          <p:cNvSpPr/>
          <p:nvPr/>
        </p:nvSpPr>
        <p:spPr>
          <a:xfrm>
            <a:off x="9817942" y="2338366"/>
            <a:ext cx="1579789" cy="1579791"/>
          </a:xfrm>
          <a:prstGeom prst="arc">
            <a:avLst>
              <a:gd name="adj1" fmla="val 7914138"/>
              <a:gd name="adj2" fmla="val 2868450"/>
            </a:avLst>
          </a:prstGeom>
          <a:ln w="88900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0821" y="2604698"/>
            <a:ext cx="1054029" cy="1018894"/>
          </a:xfrm>
          <a:prstGeom prst="rect">
            <a:avLst/>
          </a:prstGeom>
        </p:spPr>
      </p:pic>
      <p:sp>
        <p:nvSpPr>
          <p:cNvPr id="37" name="Rectangle 36"/>
          <p:cNvSpPr/>
          <p:nvPr/>
        </p:nvSpPr>
        <p:spPr>
          <a:xfrm>
            <a:off x="9113652" y="1138833"/>
            <a:ext cx="2672359" cy="691215"/>
          </a:xfrm>
          <a:prstGeom prst="rect">
            <a:avLst/>
          </a:prstGeom>
        </p:spPr>
        <p:txBody>
          <a:bodyPr wrap="square" lIns="121920" rIns="121920" bIns="60960">
            <a:spAutoFit/>
          </a:bodyPr>
          <a:lstStyle/>
          <a:p>
            <a:pPr>
              <a:lnSpc>
                <a:spcPct val="89000"/>
              </a:lnSpc>
            </a:pPr>
            <a:r>
              <a:rPr lang="en-US" sz="2130" dirty="0"/>
              <a:t>Barcode Inventory </a:t>
            </a:r>
            <a:r>
              <a:rPr lang="en-US" sz="2130" dirty="0" smtClean="0"/>
              <a:t>Management </a:t>
            </a:r>
            <a:endParaRPr lang="en-US" sz="2133" dirty="0"/>
          </a:p>
        </p:txBody>
      </p:sp>
    </p:spTree>
    <p:extLst>
      <p:ext uri="{BB962C8B-B14F-4D97-AF65-F5344CB8AC3E}">
        <p14:creationId xmlns:p14="http://schemas.microsoft.com/office/powerpoint/2010/main" val="952584563"/>
      </p:ext>
    </p:extLst>
  </p:cSld>
  <p:clrMapOvr>
    <a:masterClrMapping/>
  </p:clrMapOvr>
  <p:transition spd="med" advTm="5000">
    <p:random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25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25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grpId="0" nodeType="withEffect">
                                  <p:stCondLst>
                                    <p:cond delay="4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25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8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25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8" fill="hold" grpId="0" nodeType="withEffect">
                                  <p:stCondLst>
                                    <p:cond delay="9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25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2" fill="hold" nodeType="withEffect">
                                  <p:stCondLst>
                                    <p:cond delay="9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2" dur="25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25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22" presetClass="entr" presetSubtype="2" fill="hold" grpId="0" nodeType="withEffect">
                                  <p:stCondLst>
                                    <p:cond delay="13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8" dur="25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14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250"/>
                                        <p:tgtEl>
                                          <p:spTgt spid="1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22" presetClass="entr" presetSubtype="8" fill="hold" grpId="0" nodeType="withEffect">
                                  <p:stCondLst>
                                    <p:cond delay="165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25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195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25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22" presetClass="entr" presetSubtype="8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0" dur="250"/>
                                        <p:tgtEl>
                                          <p:spTgt spid="1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215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25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22" presetClass="entr" presetSubtype="8" fill="hold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6" dur="25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24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25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22" presetClass="entr" presetSubtype="8" fill="hold" grpId="0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2" dur="2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22" presetClass="entr" presetSubtype="8" fill="hold" grpId="0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5" dur="2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22" presetClass="entr" presetSubtype="8" fill="hold" grpId="0" nodeType="withEffect">
                                  <p:stCondLst>
                                    <p:cond delay="160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8" dur="20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22" presetClass="entr" presetSubtype="2" fill="hold" grpId="0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61" dur="250"/>
                                        <p:tgtEl>
                                          <p:spTgt spid="1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22" presetClass="entr" presetSubtype="8" fill="hold" grpId="0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4" dur="250"/>
                                        <p:tgtEl>
                                          <p:spTgt spid="1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grpId="0" nodeType="withEffect">
                                  <p:stCondLst>
                                    <p:cond delay="265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250"/>
                                        <p:tgtEl>
                                          <p:spTgt spid="1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grpId="0" nodeType="withEffect">
                                  <p:stCondLst>
                                    <p:cond delay="290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250"/>
                                        <p:tgtEl>
                                          <p:spTgt spid="1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grpId="0" nodeType="withEffect">
                                  <p:stCondLst>
                                    <p:cond delay="315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250"/>
                                        <p:tgtEl>
                                          <p:spTgt spid="1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22" presetClass="entr" presetSubtype="8" fill="hold" grpId="0" nodeType="withEffect">
                                  <p:stCondLst>
                                    <p:cond delay="275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6" dur="250"/>
                                        <p:tgtEl>
                                          <p:spTgt spid="1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22" presetClass="entr" presetSubtype="8" fill="hold" grpId="0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9" dur="2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10" presetClass="entr" presetSubtype="0" fill="hold" grpId="0" nodeType="withEffect">
                                  <p:stCondLst>
                                    <p:cond delay="290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25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7" grpId="0" animBg="1"/>
      <p:bldP spid="58" grpId="0" animBg="1"/>
      <p:bldP spid="59" grpId="0" animBg="1"/>
      <p:bldP spid="60" grpId="0" animBg="1"/>
      <p:bldP spid="61" grpId="0" animBg="1"/>
      <p:bldP spid="62" grpId="0"/>
      <p:bldP spid="103" grpId="0"/>
      <p:bldP spid="104" grpId="0"/>
      <p:bldP spid="105" grpId="0"/>
      <p:bldP spid="106" grpId="0" animBg="1"/>
      <p:bldP spid="107" grpId="0" animBg="1"/>
      <p:bldP spid="108" grpId="0" animBg="1"/>
      <p:bldP spid="109" grpId="0"/>
      <p:bldP spid="110" grpId="0" animBg="1"/>
      <p:bldP spid="111" grpId="0" animBg="1"/>
      <p:bldP spid="112" grpId="0" animBg="1"/>
      <p:bldP spid="136" grpId="0" animBg="1"/>
      <p:bldP spid="137" grpId="0" animBg="1"/>
      <p:bldP spid="138" grpId="0"/>
      <p:bldP spid="139" grpId="0"/>
      <p:bldP spid="140" grpId="0"/>
      <p:bldP spid="144" grpId="0" animBg="1"/>
      <p:bldP spid="35" grpId="0" animBg="1"/>
      <p:bldP spid="37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95143"/>
            <a:ext cx="12192000" cy="5307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6601139"/>
      </p:ext>
    </p:extLst>
  </p:cSld>
  <p:clrMapOvr>
    <a:masterClrMapping/>
  </p:clrMapOvr>
  <p:transition spd="med" advTm="5000">
    <p:random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/>
          <p:cNvSpPr/>
          <p:nvPr/>
        </p:nvSpPr>
        <p:spPr>
          <a:xfrm>
            <a:off x="183043" y="2097393"/>
            <a:ext cx="8109312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lnSpc>
                <a:spcPct val="150000"/>
              </a:lnSpc>
            </a:pPr>
            <a:r>
              <a:rPr lang="en-US" sz="2400" b="1" i="1" dirty="0" smtClean="0">
                <a:solidFill>
                  <a:schemeClr val="accent1">
                    <a:lumMod val="75000"/>
                  </a:schemeClr>
                </a:solidFill>
                <a:effectLst>
                  <a:glow rad="139700">
                    <a:schemeClr val="accent6">
                      <a:satMod val="175000"/>
                      <a:alpha val="40000"/>
                    </a:schemeClr>
                  </a:glow>
                </a:effectLst>
              </a:rPr>
              <a:t>Service </a:t>
            </a:r>
            <a:r>
              <a:rPr lang="en-US" sz="2400" b="1" i="1" dirty="0" err="1">
                <a:solidFill>
                  <a:schemeClr val="accent1">
                    <a:lumMod val="75000"/>
                  </a:schemeClr>
                </a:solidFill>
                <a:effectLst>
                  <a:glow rad="139700">
                    <a:schemeClr val="accent6">
                      <a:satMod val="175000"/>
                      <a:alpha val="40000"/>
                    </a:schemeClr>
                  </a:glow>
                </a:effectLst>
              </a:rPr>
              <a:t>Engg</a:t>
            </a:r>
            <a:r>
              <a:rPr lang="en-US" sz="2400" b="1" i="1" dirty="0">
                <a:solidFill>
                  <a:schemeClr val="accent1">
                    <a:lumMod val="75000"/>
                  </a:schemeClr>
                </a:solidFill>
                <a:effectLst>
                  <a:glow rad="139700">
                    <a:schemeClr val="accent6">
                      <a:satMod val="175000"/>
                      <a:alpha val="40000"/>
                    </a:schemeClr>
                  </a:glow>
                </a:effectLst>
              </a:rPr>
              <a:t> Tracking </a:t>
            </a:r>
          </a:p>
          <a:p>
            <a:pPr marL="285750" lvl="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 smtClean="0"/>
              <a:t>Engineer get notified of service tickets and tagged to the sites which are geo-tagged</a:t>
            </a:r>
          </a:p>
          <a:p>
            <a:pPr marL="285750" lvl="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 smtClean="0"/>
              <a:t>Mobile based app to capture status update on the go</a:t>
            </a:r>
          </a:p>
          <a:p>
            <a:pPr marL="285750" lvl="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 smtClean="0"/>
              <a:t>Central dashboard to monitor the progress</a:t>
            </a:r>
          </a:p>
        </p:txBody>
      </p:sp>
      <p:pic>
        <p:nvPicPr>
          <p:cNvPr id="16386" name="Picture 2" descr="http://lntswcdigital.com/img/small/6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55822" y="2530610"/>
            <a:ext cx="2171700" cy="2162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92000" cy="15052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4234511"/>
      </p:ext>
    </p:extLst>
  </p:cSld>
  <p:clrMapOvr>
    <a:masterClrMapping/>
  </p:clrMapOvr>
  <p:transition advTm="4000">
    <p:random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/>
          <p:cNvSpPr/>
          <p:nvPr/>
        </p:nvSpPr>
        <p:spPr>
          <a:xfrm>
            <a:off x="183043" y="2097393"/>
            <a:ext cx="8109312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lnSpc>
                <a:spcPct val="150000"/>
              </a:lnSpc>
            </a:pPr>
            <a:r>
              <a:rPr lang="en-US" sz="2400" b="1" i="1" dirty="0" smtClean="0">
                <a:solidFill>
                  <a:schemeClr val="accent1">
                    <a:lumMod val="75000"/>
                  </a:schemeClr>
                </a:solidFill>
                <a:effectLst>
                  <a:glow rad="139700">
                    <a:schemeClr val="accent6">
                      <a:satMod val="175000"/>
                      <a:alpha val="40000"/>
                    </a:schemeClr>
                  </a:glow>
                </a:effectLst>
              </a:rPr>
              <a:t>Bar-code Inventory Tracking</a:t>
            </a:r>
            <a:endParaRPr lang="en-US" sz="2400" b="1" i="1" dirty="0">
              <a:solidFill>
                <a:schemeClr val="accent1">
                  <a:lumMod val="75000"/>
                </a:schemeClr>
              </a:solidFill>
              <a:effectLst>
                <a:glow rad="139700">
                  <a:schemeClr val="accent6">
                    <a:satMod val="175000"/>
                    <a:alpha val="40000"/>
                  </a:schemeClr>
                </a:glow>
              </a:effectLst>
            </a:endParaRPr>
          </a:p>
          <a:p>
            <a:pPr marL="285750" lvl="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 smtClean="0"/>
              <a:t>Track every single movement of material right from the supplier stage till the installation at site</a:t>
            </a:r>
          </a:p>
          <a:p>
            <a:pPr marL="285750" lvl="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 smtClean="0"/>
              <a:t>Record and monitor the flow and optimize</a:t>
            </a:r>
          </a:p>
          <a:p>
            <a:pPr marL="285750" lvl="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 smtClean="0"/>
              <a:t>Spot the bottleneck and highlight</a:t>
            </a:r>
          </a:p>
        </p:txBody>
      </p:sp>
      <p:pic>
        <p:nvPicPr>
          <p:cNvPr id="17410" name="Picture 2" descr="http://lntswcdigital.com/img/small/2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61692" y="2262592"/>
            <a:ext cx="2143125" cy="2143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92000" cy="15052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7981172"/>
      </p:ext>
    </p:extLst>
  </p:cSld>
  <p:clrMapOvr>
    <a:masterClrMapping/>
  </p:clrMapOvr>
  <p:transition spd="med" advTm="5000">
    <p:random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/>
          <p:cNvSpPr/>
          <p:nvPr/>
        </p:nvSpPr>
        <p:spPr>
          <a:xfrm>
            <a:off x="183043" y="2097393"/>
            <a:ext cx="8409414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lnSpc>
                <a:spcPct val="150000"/>
              </a:lnSpc>
            </a:pPr>
            <a:r>
              <a:rPr lang="en-US" sz="2400" b="1" i="1" dirty="0" smtClean="0">
                <a:solidFill>
                  <a:schemeClr val="accent1">
                    <a:lumMod val="75000"/>
                  </a:schemeClr>
                </a:solidFill>
                <a:effectLst>
                  <a:glow rad="139700">
                    <a:schemeClr val="accent6">
                      <a:satMod val="175000"/>
                      <a:alpha val="40000"/>
                    </a:schemeClr>
                  </a:glow>
                </a:effectLst>
              </a:rPr>
              <a:t>Quality Inspection App</a:t>
            </a:r>
            <a:endParaRPr lang="en-US" sz="2400" b="1" i="1" dirty="0">
              <a:solidFill>
                <a:schemeClr val="accent1">
                  <a:lumMod val="75000"/>
                </a:schemeClr>
              </a:solidFill>
              <a:effectLst>
                <a:glow rad="139700">
                  <a:schemeClr val="accent6">
                    <a:satMod val="175000"/>
                    <a:alpha val="40000"/>
                  </a:schemeClr>
                </a:glow>
              </a:effectLst>
            </a:endParaRPr>
          </a:p>
          <a:p>
            <a:pPr marL="285750" lvl="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 smtClean="0"/>
              <a:t>Enables on-the-spot quality parameter capture thru mobile app</a:t>
            </a:r>
          </a:p>
          <a:p>
            <a:pPr marL="285750" lvl="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 smtClean="0"/>
              <a:t>Streamlined workflow </a:t>
            </a:r>
          </a:p>
          <a:p>
            <a:pPr marL="285750" lvl="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 smtClean="0"/>
              <a:t>Transparent and audit ready</a:t>
            </a:r>
          </a:p>
        </p:txBody>
      </p:sp>
      <p:pic>
        <p:nvPicPr>
          <p:cNvPr id="18436" name="Picture 4" descr="Related image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98755" y="2469563"/>
            <a:ext cx="2112586" cy="21179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92000" cy="15052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8302236"/>
      </p:ext>
    </p:extLst>
  </p:cSld>
  <p:clrMapOvr>
    <a:masterClrMapping/>
  </p:clrMapOvr>
  <p:transition spd="med" advTm="5000">
    <p:random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/>
          <p:cNvSpPr/>
          <p:nvPr/>
        </p:nvSpPr>
        <p:spPr>
          <a:xfrm>
            <a:off x="183043" y="2097393"/>
            <a:ext cx="8506932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lnSpc>
                <a:spcPct val="150000"/>
              </a:lnSpc>
            </a:pPr>
            <a:r>
              <a:rPr lang="en-US" sz="2400" b="1" i="1" dirty="0" smtClean="0">
                <a:solidFill>
                  <a:schemeClr val="accent1">
                    <a:lumMod val="75000"/>
                  </a:schemeClr>
                </a:solidFill>
                <a:effectLst>
                  <a:glow rad="139700">
                    <a:schemeClr val="accent6">
                      <a:satMod val="175000"/>
                      <a:alpha val="40000"/>
                    </a:schemeClr>
                  </a:glow>
                </a:effectLst>
              </a:rPr>
              <a:t>Executive Dashboards</a:t>
            </a:r>
            <a:endParaRPr lang="en-US" sz="2400" b="1" i="1" dirty="0">
              <a:solidFill>
                <a:schemeClr val="accent1">
                  <a:lumMod val="75000"/>
                </a:schemeClr>
              </a:solidFill>
              <a:effectLst>
                <a:glow rad="139700">
                  <a:schemeClr val="accent6">
                    <a:satMod val="175000"/>
                    <a:alpha val="40000"/>
                  </a:schemeClr>
                </a:glow>
              </a:effectLst>
            </a:endParaRPr>
          </a:p>
          <a:p>
            <a:pPr marL="285750" lvl="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 smtClean="0"/>
              <a:t>Anything and everything about our business at finger tips, be it projects, internal process, departments, etc.</a:t>
            </a:r>
          </a:p>
          <a:p>
            <a:pPr marL="285750" lvl="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 smtClean="0"/>
              <a:t>Pictorial representation of facts for easy understanding</a:t>
            </a:r>
          </a:p>
          <a:p>
            <a:pPr marL="285750" lvl="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 smtClean="0"/>
              <a:t>Real-time data enables better advised decision making</a:t>
            </a:r>
          </a:p>
        </p:txBody>
      </p:sp>
      <p:pic>
        <p:nvPicPr>
          <p:cNvPr id="20482" name="Picture 2" descr="http://lntswcdigital.com/img/small/12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81860" y="2351213"/>
            <a:ext cx="2143125" cy="2143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92000" cy="15052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5223773"/>
      </p:ext>
    </p:extLst>
  </p:cSld>
  <p:clrMapOvr>
    <a:masterClrMapping/>
  </p:clrMapOvr>
  <p:transition spd="med" advTm="5000">
    <p:random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/>
          <p:cNvSpPr/>
          <p:nvPr/>
        </p:nvSpPr>
        <p:spPr>
          <a:xfrm>
            <a:off x="183043" y="2097393"/>
            <a:ext cx="8506932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lnSpc>
                <a:spcPct val="150000"/>
              </a:lnSpc>
            </a:pPr>
            <a:r>
              <a:rPr lang="en-US" sz="2400" b="1" i="1" dirty="0" smtClean="0">
                <a:solidFill>
                  <a:schemeClr val="accent1">
                    <a:lumMod val="75000"/>
                  </a:schemeClr>
                </a:solidFill>
                <a:effectLst>
                  <a:glow rad="139700">
                    <a:schemeClr val="accent6">
                      <a:satMod val="175000"/>
                      <a:alpha val="40000"/>
                    </a:schemeClr>
                  </a:glow>
                </a:effectLst>
              </a:rPr>
              <a:t>Warranty Tracking</a:t>
            </a:r>
            <a:endParaRPr lang="en-US" sz="2400" b="1" i="1" dirty="0">
              <a:solidFill>
                <a:schemeClr val="accent1">
                  <a:lumMod val="75000"/>
                </a:schemeClr>
              </a:solidFill>
              <a:effectLst>
                <a:glow rad="139700">
                  <a:schemeClr val="accent6">
                    <a:satMod val="175000"/>
                    <a:alpha val="40000"/>
                  </a:schemeClr>
                </a:glow>
              </a:effectLst>
            </a:endParaRPr>
          </a:p>
          <a:p>
            <a:pPr marL="285750" lvl="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 smtClean="0"/>
              <a:t>Smart warranty expiry alerts keeps the assets up &amp; running at minimal costs</a:t>
            </a:r>
          </a:p>
          <a:p>
            <a:pPr marL="285750" lvl="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 smtClean="0"/>
              <a:t>Timely highlights to save huge maintenance costs</a:t>
            </a:r>
          </a:p>
          <a:p>
            <a:pPr marL="285750" lvl="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2400" dirty="0" smtClean="0"/>
          </a:p>
        </p:txBody>
      </p:sp>
      <p:pic>
        <p:nvPicPr>
          <p:cNvPr id="21506" name="Picture 2" descr="Image result for warranty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5471" y="2456991"/>
            <a:ext cx="2143125" cy="2143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92000" cy="15052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8637515"/>
      </p:ext>
    </p:extLst>
  </p:cSld>
  <p:clrMapOvr>
    <a:masterClrMapping/>
  </p:clrMapOvr>
  <p:transition spd="med" advTm="5000">
    <p:random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/>
          <p:cNvSpPr/>
          <p:nvPr/>
        </p:nvSpPr>
        <p:spPr>
          <a:xfrm>
            <a:off x="183043" y="2097393"/>
            <a:ext cx="8506932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lnSpc>
                <a:spcPct val="150000"/>
              </a:lnSpc>
            </a:pPr>
            <a:r>
              <a:rPr lang="en-US" sz="2400" b="1" i="1" dirty="0" err="1" smtClean="0">
                <a:solidFill>
                  <a:schemeClr val="accent1">
                    <a:lumMod val="75000"/>
                  </a:schemeClr>
                </a:solidFill>
                <a:effectLst>
                  <a:glow rad="139700">
                    <a:schemeClr val="accent6">
                      <a:satMod val="175000"/>
                      <a:alpha val="40000"/>
                    </a:schemeClr>
                  </a:glow>
                </a:effectLst>
              </a:rPr>
              <a:t>Procube</a:t>
            </a:r>
            <a:endParaRPr lang="en-US" sz="2400" b="1" i="1" dirty="0">
              <a:solidFill>
                <a:schemeClr val="accent1">
                  <a:lumMod val="75000"/>
                </a:schemeClr>
              </a:solidFill>
              <a:effectLst>
                <a:glow rad="139700">
                  <a:schemeClr val="accent6">
                    <a:satMod val="175000"/>
                    <a:alpha val="40000"/>
                  </a:schemeClr>
                </a:glow>
              </a:effectLst>
            </a:endParaRPr>
          </a:p>
          <a:p>
            <a:pPr marL="285750" lvl="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 smtClean="0"/>
              <a:t>Complete palette of projects’ progress data converge to single platform real time.</a:t>
            </a:r>
          </a:p>
          <a:p>
            <a:pPr marL="285750" lvl="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 smtClean="0"/>
              <a:t>Top-down drilling on facts enable complete status track </a:t>
            </a:r>
          </a:p>
          <a:p>
            <a:pPr marL="285750" lvl="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2400" dirty="0" smtClean="0"/>
          </a:p>
        </p:txBody>
      </p:sp>
      <p:pic>
        <p:nvPicPr>
          <p:cNvPr id="22530" name="Picture 2" descr="http://lntswcdigital.com/img/small/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37860" y="2471210"/>
            <a:ext cx="2845712" cy="2111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92000" cy="15052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1149084"/>
      </p:ext>
    </p:extLst>
  </p:cSld>
  <p:clrMapOvr>
    <a:masterClrMapping/>
  </p:clrMapOvr>
  <p:transition spd="med" advTm="5000">
    <p:random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heme/theme1.xml><?xml version="1.0" encoding="utf-8"?>
<a:theme xmlns:a="http://schemas.openxmlformats.org/drawingml/2006/main" name="1_Firm Format - template_Blu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C75ED597-A648-42ED-A4DC-A5D09CAD6C59}" vid="{F0629F24-3C58-41B5-9C5E-254256C7B134}"/>
    </a:ext>
  </a:extLst>
</a:theme>
</file>

<file path=ppt/theme/theme2.xml><?xml version="1.0" encoding="utf-8"?>
<a:theme xmlns:a="http://schemas.openxmlformats.org/drawingml/2006/main" name="Firm Format - template_Blu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C75ED597-A648-42ED-A4DC-A5D09CAD6C59}" vid="{F0629F24-3C58-41B5-9C5E-254256C7B134}"/>
    </a:ext>
  </a:extLst>
</a:theme>
</file>

<file path=ppt/theme/theme3.xml><?xml version="1.0" encoding="utf-8"?>
<a:theme xmlns:a="http://schemas.openxmlformats.org/drawingml/2006/main" name="2_Firm Format - template_Blu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C75ED597-A648-42ED-A4DC-A5D09CAD6C59}" vid="{F0629F24-3C58-41B5-9C5E-254256C7B134}"/>
    </a:ext>
  </a:extLst>
</a:theme>
</file>

<file path=ppt/theme/theme4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FCB70442602B64E88C56FB2F3530B69" ma:contentTypeVersion="15" ma:contentTypeDescription="Create a new document." ma:contentTypeScope="" ma:versionID="c22012f6827cffbc086c784b1d17e164">
  <xsd:schema xmlns:xsd="http://www.w3.org/2001/XMLSchema" xmlns:xs="http://www.w3.org/2001/XMLSchema" xmlns:p="http://schemas.microsoft.com/office/2006/metadata/properties" xmlns:ns2="b6eb5cba-887a-48f2-949b-51f97c574783" xmlns:ns3="b931b510-abe0-4605-acd3-eb6c2f85cd30" targetNamespace="http://schemas.microsoft.com/office/2006/metadata/properties" ma:root="true" ma:fieldsID="b290833e254a1c6281eaa788ab607576" ns2:_="" ns3:_="">
    <xsd:import namespace="b6eb5cba-887a-48f2-949b-51f97c574783"/>
    <xsd:import namespace="b931b510-abe0-4605-acd3-eb6c2f85cd30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lcf76f155ced4ddcb4097134ff3c332f" minOccurs="0"/>
                <xsd:element ref="ns2:TaxCatchAll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ObjectDetectorVersions" minOccurs="0"/>
                <xsd:element ref="ns3:MediaServiceSearchProperties" minOccurs="0"/>
                <xsd:element ref="ns3:MediaServiceDateTaken" minOccurs="0"/>
                <xsd:element ref="ns3:MediaLengthInSeconds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6eb5cba-887a-48f2-949b-51f97c574783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4" nillable="true" ma:displayName="Taxonomy Catch All Column" ma:hidden="true" ma:list="{e43787aa-80f7-4d8d-a46a-bbb822e0e6b8}" ma:internalName="TaxCatchAll" ma:showField="CatchAllData" ma:web="b6eb5cba-887a-48f2-949b-51f97c57478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931b510-abe0-4605-acd3-eb6c2f85cd3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12d122f3-2187-4f4a-ac69-8279b349aed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bjectDetectorVersions" ma:index="18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9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2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2" nillable="true" ma:displayName="Location" ma:indexed="true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b6eb5cba-887a-48f2-949b-51f97c574783" xsi:nil="true"/>
    <lcf76f155ced4ddcb4097134ff3c332f xmlns="b931b510-abe0-4605-acd3-eb6c2f85cd30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E64E4C8F-823D-49B2-8844-5B1809BA61A0}"/>
</file>

<file path=customXml/itemProps2.xml><?xml version="1.0" encoding="utf-8"?>
<ds:datastoreItem xmlns:ds="http://schemas.openxmlformats.org/officeDocument/2006/customXml" ds:itemID="{FF27CEC2-A8C6-4531-A5BE-FB2F4784F7F0}"/>
</file>

<file path=customXml/itemProps3.xml><?xml version="1.0" encoding="utf-8"?>
<ds:datastoreItem xmlns:ds="http://schemas.openxmlformats.org/officeDocument/2006/customXml" ds:itemID="{9F736E5F-E11B-4711-95AA-B831ED1B9B30}"/>
</file>

<file path=docProps/app.xml><?xml version="1.0" encoding="utf-8"?>
<Properties xmlns="http://schemas.openxmlformats.org/officeDocument/2006/extended-properties" xmlns:vt="http://schemas.openxmlformats.org/officeDocument/2006/docPropsVTypes">
  <TotalTime>1976</TotalTime>
  <Words>403</Words>
  <Application>Microsoft Office PowerPoint</Application>
  <PresentationFormat>Widescreen</PresentationFormat>
  <Paragraphs>63</Paragraphs>
  <Slides>1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9" baseType="lpstr">
      <vt:lpstr>Arial</vt:lpstr>
      <vt:lpstr>Calibri</vt:lpstr>
      <vt:lpstr>Calibri Light</vt:lpstr>
      <vt:lpstr>Impact</vt:lpstr>
      <vt:lpstr>1_Firm Format - template_Blue</vt:lpstr>
      <vt:lpstr>Firm Format - template_Blue</vt:lpstr>
      <vt:lpstr>2_Firm Format - template_Blue</vt:lpstr>
      <vt:lpstr>Custom Design</vt:lpstr>
      <vt:lpstr>1_Office Theme</vt:lpstr>
      <vt:lpstr>2_Office Theme</vt:lpstr>
      <vt:lpstr>3_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isha Agarwal</dc:creator>
  <cp:lastModifiedBy>Admin</cp:lastModifiedBy>
  <cp:revision>183</cp:revision>
  <dcterms:created xsi:type="dcterms:W3CDTF">2017-09-12T05:33:43Z</dcterms:created>
  <dcterms:modified xsi:type="dcterms:W3CDTF">2018-04-26T11:15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ac52bb50-aef2-4dc8-bb7f-e0da22648362_Enabled">
    <vt:lpwstr>True</vt:lpwstr>
  </property>
  <property fmtid="{D5CDD505-2E9C-101B-9397-08002B2CF9AE}" pid="3" name="MSIP_Label_ac52bb50-aef2-4dc8-bb7f-e0da22648362_SiteId">
    <vt:lpwstr>264b9899-fe1b-430b-9509-2154878d5774</vt:lpwstr>
  </property>
  <property fmtid="{D5CDD505-2E9C-101B-9397-08002B2CF9AE}" pid="4" name="MSIP_Label_ac52bb50-aef2-4dc8-bb7f-e0da22648362_Ref">
    <vt:lpwstr>https://api.informationprotection.azure.com/api/264b9899-fe1b-430b-9509-2154878d5774</vt:lpwstr>
  </property>
  <property fmtid="{D5CDD505-2E9C-101B-9397-08002B2CF9AE}" pid="5" name="MSIP_Label_ac52bb50-aef2-4dc8-bb7f-e0da22648362_SetBy">
    <vt:lpwstr>uuk@lntecc.com</vt:lpwstr>
  </property>
  <property fmtid="{D5CDD505-2E9C-101B-9397-08002B2CF9AE}" pid="6" name="MSIP_Label_ac52bb50-aef2-4dc8-bb7f-e0da22648362_SetDate">
    <vt:lpwstr>2017-11-17T12:07:41.1706469+05:30</vt:lpwstr>
  </property>
  <property fmtid="{D5CDD505-2E9C-101B-9397-08002B2CF9AE}" pid="7" name="MSIP_Label_ac52bb50-aef2-4dc8-bb7f-e0da22648362_Name">
    <vt:lpwstr>LTC Internal Use</vt:lpwstr>
  </property>
  <property fmtid="{D5CDD505-2E9C-101B-9397-08002B2CF9AE}" pid="8" name="MSIP_Label_ac52bb50-aef2-4dc8-bb7f-e0da22648362_Application">
    <vt:lpwstr>Microsoft Azure Information Protection</vt:lpwstr>
  </property>
  <property fmtid="{D5CDD505-2E9C-101B-9397-08002B2CF9AE}" pid="9" name="MSIP_Label_ac52bb50-aef2-4dc8-bb7f-e0da22648362_Extended_MSFT_Method">
    <vt:lpwstr>Automatic</vt:lpwstr>
  </property>
  <property fmtid="{D5CDD505-2E9C-101B-9397-08002B2CF9AE}" pid="10" name="Sensitivity">
    <vt:lpwstr>LTC Internal Use</vt:lpwstr>
  </property>
  <property fmtid="{D5CDD505-2E9C-101B-9397-08002B2CF9AE}" pid="11" name="ContentTypeId">
    <vt:lpwstr>0x0101007FCB70442602B64E88C56FB2F3530B69</vt:lpwstr>
  </property>
</Properties>
</file>